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handoutMasterIdLst>
    <p:handoutMasterId r:id="rId7"/>
  </p:handoutMasterIdLst>
  <p:sldIdLst>
    <p:sldId id="393" r:id="rId5"/>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90BEF6-35D2-4BAB-A0AB-4FD1B538C680}" v="4" dt="2022-06-27T08:35:11.553"/>
  </p1510:revLst>
</p1510:revInfo>
</file>

<file path=ppt/tableStyles.xml><?xml version="1.0" encoding="utf-8"?>
<a:tblStyleLst xmlns:a="http://schemas.openxmlformats.org/drawingml/2006/main" def="{69012ECD-51FC-41F1-AA8D-1B2483CD663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041" autoAdjust="0"/>
  </p:normalViewPr>
  <p:slideViewPr>
    <p:cSldViewPr snapToGrid="0">
      <p:cViewPr varScale="1">
        <p:scale>
          <a:sx n="59" d="100"/>
          <a:sy n="59" d="100"/>
        </p:scale>
        <p:origin x="816" y="60"/>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77" d="100"/>
          <a:sy n="77" d="100"/>
        </p:scale>
        <p:origin x="7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9D7BEDF0-B561-487C-B21E-034067A3B0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sz="900"/>
          </a:p>
        </p:txBody>
      </p:sp>
      <p:sp>
        <p:nvSpPr>
          <p:cNvPr id="3" name="Tijdelijke aanduiding voor datum 2">
            <a:extLst>
              <a:ext uri="{FF2B5EF4-FFF2-40B4-BE49-F238E27FC236}">
                <a16:creationId xmlns:a16="http://schemas.microsoft.com/office/drawing/2014/main" id="{91B8709B-0E09-4C4A-BCEE-FB0787B83E8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12E502-0372-4383-87F7-A5E91A02659B}" type="datetimeFigureOut">
              <a:rPr lang="nl-NL" sz="900" smtClean="0"/>
              <a:t>27-6-2022</a:t>
            </a:fld>
            <a:endParaRPr lang="nl-NL" sz="900"/>
          </a:p>
        </p:txBody>
      </p:sp>
      <p:sp>
        <p:nvSpPr>
          <p:cNvPr id="4" name="Tijdelijke aanduiding voor voettekst 3">
            <a:extLst>
              <a:ext uri="{FF2B5EF4-FFF2-40B4-BE49-F238E27FC236}">
                <a16:creationId xmlns:a16="http://schemas.microsoft.com/office/drawing/2014/main" id="{61A1283E-A87E-4066-A036-56191BFA54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sz="900"/>
          </a:p>
        </p:txBody>
      </p:sp>
      <p:sp>
        <p:nvSpPr>
          <p:cNvPr id="5" name="Tijdelijke aanduiding voor dianummer 4">
            <a:extLst>
              <a:ext uri="{FF2B5EF4-FFF2-40B4-BE49-F238E27FC236}">
                <a16:creationId xmlns:a16="http://schemas.microsoft.com/office/drawing/2014/main" id="{DA9E6092-7358-4478-95F5-5A45AA2D4A1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DDFD7CD-BAD4-422E-805E-F4ADF9ACD308}" type="slidenum">
              <a:rPr lang="nl-NL" sz="900" smtClean="0"/>
              <a:t>‹nr.›</a:t>
            </a:fld>
            <a:endParaRPr lang="nl-NL" sz="900"/>
          </a:p>
        </p:txBody>
      </p:sp>
    </p:spTree>
    <p:extLst>
      <p:ext uri="{BB962C8B-B14F-4D97-AF65-F5344CB8AC3E}">
        <p14:creationId xmlns:p14="http://schemas.microsoft.com/office/powerpoint/2010/main" val="40134812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13D4943E-2308-407B-93D5-1C0E3DF2E47A}" type="datetimeFigureOut">
              <a:rPr lang="nl-NL" smtClean="0"/>
              <a:pPr/>
              <a:t>27-6-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913C3115-32A7-444F-927E-B115CF90113C}" type="slidenum">
              <a:rPr lang="nl-NL" smtClean="0"/>
              <a:pPr/>
              <a:t>‹nr.›</a:t>
            </a:fld>
            <a:endParaRPr lang="nl-NL"/>
          </a:p>
        </p:txBody>
      </p:sp>
    </p:spTree>
    <p:extLst>
      <p:ext uri="{BB962C8B-B14F-4D97-AF65-F5344CB8AC3E}">
        <p14:creationId xmlns:p14="http://schemas.microsoft.com/office/powerpoint/2010/main" val="2797231202"/>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900" kern="1200">
        <a:solidFill>
          <a:schemeClr val="tx1"/>
        </a:solidFill>
        <a:latin typeface="+mn-lt"/>
        <a:ea typeface="+mn-ea"/>
        <a:cs typeface="+mn-cs"/>
      </a:defRPr>
    </a:lvl2pPr>
    <a:lvl3pPr marL="914400" algn="l" defTabSz="914400" rtl="0" eaLnBrk="1" latinLnBrk="0" hangingPunct="1">
      <a:defRPr sz="900" kern="1200">
        <a:solidFill>
          <a:schemeClr val="tx1"/>
        </a:solidFill>
        <a:latin typeface="+mn-lt"/>
        <a:ea typeface="+mn-ea"/>
        <a:cs typeface="+mn-cs"/>
      </a:defRPr>
    </a:lvl3pPr>
    <a:lvl4pPr marL="1371600" algn="l" defTabSz="914400" rtl="0" eaLnBrk="1" latinLnBrk="0" hangingPunct="1">
      <a:defRPr sz="900" kern="1200">
        <a:solidFill>
          <a:schemeClr val="tx1"/>
        </a:solidFill>
        <a:latin typeface="+mn-lt"/>
        <a:ea typeface="+mn-ea"/>
        <a:cs typeface="+mn-cs"/>
      </a:defRPr>
    </a:lvl4pPr>
    <a:lvl5pPr marL="1828800" algn="l" defTabSz="914400" rtl="0" eaLnBrk="1" latinLnBrk="0" hangingPunct="1">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4.emf"/><Relationship Id="rId5" Type="http://schemas.openxmlformats.org/officeDocument/2006/relationships/image" Target="../media/image13.jpeg"/><Relationship Id="rId4" Type="http://schemas.openxmlformats.org/officeDocument/2006/relationships/image" Target="../media/image12.png"/><Relationship Id="rId9" Type="http://schemas.openxmlformats.org/officeDocument/2006/relationships/image" Target="../media/image1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Wit">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FDF89716-8C57-449C-A566-B9D4115922D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accent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accent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6" name="Freeform 5">
            <a:extLst>
              <a:ext uri="{FF2B5EF4-FFF2-40B4-BE49-F238E27FC236}">
                <a16:creationId xmlns:a16="http://schemas.microsoft.com/office/drawing/2014/main" id="{90AD730B-F8E9-412E-B814-76C8908D8E41}"/>
              </a:ext>
            </a:extLst>
          </p:cNvPr>
          <p:cNvSpPr>
            <a:spLocks/>
          </p:cNvSpPr>
          <p:nvPr userDrawn="1"/>
        </p:nvSpPr>
        <p:spPr bwMode="auto">
          <a:xfrm>
            <a:off x="7046665" y="-1"/>
            <a:ext cx="5145335" cy="3966413"/>
          </a:xfrm>
          <a:custGeom>
            <a:avLst/>
            <a:gdLst>
              <a:gd name="T0" fmla="*/ 1098 w 1620"/>
              <a:gd name="T1" fmla="*/ 1012 h 1245"/>
              <a:gd name="T2" fmla="*/ 1352 w 1620"/>
              <a:gd name="T3" fmla="*/ 1012 h 1245"/>
              <a:gd name="T4" fmla="*/ 1452 w 1620"/>
              <a:gd name="T5" fmla="*/ 1032 h 1245"/>
              <a:gd name="T6" fmla="*/ 1620 w 1620"/>
              <a:gd name="T7" fmla="*/ 1245 h 1245"/>
              <a:gd name="T8" fmla="*/ 1620 w 1620"/>
              <a:gd name="T9" fmla="*/ 239 h 1245"/>
              <a:gd name="T10" fmla="*/ 1554 w 1620"/>
              <a:gd name="T11" fmla="*/ 379 h 1245"/>
              <a:gd name="T12" fmla="*/ 1519 w 1620"/>
              <a:gd name="T13" fmla="*/ 412 h 1245"/>
              <a:gd name="T14" fmla="*/ 1507 w 1620"/>
              <a:gd name="T15" fmla="*/ 420 h 1245"/>
              <a:gd name="T16" fmla="*/ 1352 w 1620"/>
              <a:gd name="T17" fmla="*/ 469 h 1245"/>
              <a:gd name="T18" fmla="*/ 1312 w 1620"/>
              <a:gd name="T19" fmla="*/ 469 h 1245"/>
              <a:gd name="T20" fmla="*/ 1248 w 1620"/>
              <a:gd name="T21" fmla="*/ 469 h 1245"/>
              <a:gd name="T22" fmla="*/ 558 w 1620"/>
              <a:gd name="T23" fmla="*/ 0 h 1245"/>
              <a:gd name="T24" fmla="*/ 0 w 1620"/>
              <a:gd name="T25" fmla="*/ 0 h 1245"/>
              <a:gd name="T26" fmla="*/ 1098 w 1620"/>
              <a:gd name="T27" fmla="*/ 101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0" h="1245">
                <a:moveTo>
                  <a:pt x="1098" y="1012"/>
                </a:moveTo>
                <a:cubicBezTo>
                  <a:pt x="1352" y="1012"/>
                  <a:pt x="1352" y="1012"/>
                  <a:pt x="1352" y="1012"/>
                </a:cubicBezTo>
                <a:cubicBezTo>
                  <a:pt x="1387" y="1012"/>
                  <a:pt x="1421" y="1019"/>
                  <a:pt x="1452" y="1032"/>
                </a:cubicBezTo>
                <a:cubicBezTo>
                  <a:pt x="1541" y="1067"/>
                  <a:pt x="1606" y="1148"/>
                  <a:pt x="1620" y="1245"/>
                </a:cubicBezTo>
                <a:cubicBezTo>
                  <a:pt x="1620" y="239"/>
                  <a:pt x="1620" y="239"/>
                  <a:pt x="1620" y="239"/>
                </a:cubicBezTo>
                <a:cubicBezTo>
                  <a:pt x="1612" y="292"/>
                  <a:pt x="1588" y="341"/>
                  <a:pt x="1554" y="379"/>
                </a:cubicBezTo>
                <a:cubicBezTo>
                  <a:pt x="1543" y="391"/>
                  <a:pt x="1531" y="402"/>
                  <a:pt x="1519" y="412"/>
                </a:cubicBezTo>
                <a:cubicBezTo>
                  <a:pt x="1515" y="415"/>
                  <a:pt x="1511" y="418"/>
                  <a:pt x="1507" y="420"/>
                </a:cubicBezTo>
                <a:cubicBezTo>
                  <a:pt x="1463" y="451"/>
                  <a:pt x="1410" y="469"/>
                  <a:pt x="1352" y="469"/>
                </a:cubicBezTo>
                <a:cubicBezTo>
                  <a:pt x="1312" y="469"/>
                  <a:pt x="1312" y="469"/>
                  <a:pt x="1312" y="469"/>
                </a:cubicBezTo>
                <a:cubicBezTo>
                  <a:pt x="1248" y="469"/>
                  <a:pt x="1248" y="469"/>
                  <a:pt x="1248" y="469"/>
                </a:cubicBezTo>
                <a:cubicBezTo>
                  <a:pt x="828" y="469"/>
                  <a:pt x="621" y="312"/>
                  <a:pt x="558" y="0"/>
                </a:cubicBezTo>
                <a:cubicBezTo>
                  <a:pt x="0" y="0"/>
                  <a:pt x="0" y="0"/>
                  <a:pt x="0" y="0"/>
                </a:cubicBezTo>
                <a:cubicBezTo>
                  <a:pt x="61" y="558"/>
                  <a:pt x="528" y="997"/>
                  <a:pt x="1098" y="10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accent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accent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pic>
        <p:nvPicPr>
          <p:cNvPr id="6" name="Afbeelding 5">
            <a:extLst>
              <a:ext uri="{FF2B5EF4-FFF2-40B4-BE49-F238E27FC236}">
                <a16:creationId xmlns:a16="http://schemas.microsoft.com/office/drawing/2014/main" id="{A37E08C6-4CA7-4EB9-9F4A-DFC4A12E0A0A}"/>
              </a:ext>
            </a:extLst>
          </p:cNvPr>
          <p:cNvPicPr>
            <a:picLocks noChangeAspect="1"/>
          </p:cNvPicPr>
          <p:nvPr userDrawn="1"/>
        </p:nvPicPr>
        <p:blipFill>
          <a:blip r:embed="rId2"/>
          <a:stretch>
            <a:fillRect/>
          </a:stretch>
        </p:blipFill>
        <p:spPr>
          <a:xfrm>
            <a:off x="1055688" y="5767365"/>
            <a:ext cx="3148012" cy="541359"/>
          </a:xfrm>
          <a:prstGeom prst="rect">
            <a:avLst/>
          </a:prstGeom>
        </p:spPr>
      </p:pic>
      <p:pic>
        <p:nvPicPr>
          <p:cNvPr id="7" name="Afbeelding 6">
            <a:extLst>
              <a:ext uri="{FF2B5EF4-FFF2-40B4-BE49-F238E27FC236}">
                <a16:creationId xmlns:a16="http://schemas.microsoft.com/office/drawing/2014/main" id="{EF0FFD47-F82E-4439-8AC3-B25A4B7A0CC1}"/>
              </a:ext>
            </a:extLst>
          </p:cNvPr>
          <p:cNvPicPr>
            <a:picLocks noChangeAspect="1"/>
          </p:cNvPicPr>
          <p:nvPr userDrawn="1"/>
        </p:nvPicPr>
        <p:blipFill>
          <a:blip r:embed="rId3"/>
          <a:stretch>
            <a:fillRect/>
          </a:stretch>
        </p:blipFill>
        <p:spPr>
          <a:xfrm>
            <a:off x="8701087" y="5930900"/>
            <a:ext cx="2435226" cy="270678"/>
          </a:xfrm>
          <a:prstGeom prst="rect">
            <a:avLst/>
          </a:prstGeom>
        </p:spPr>
      </p:pic>
    </p:spTree>
    <p:extLst>
      <p:ext uri="{BB962C8B-B14F-4D97-AF65-F5344CB8AC3E}">
        <p14:creationId xmlns:p14="http://schemas.microsoft.com/office/powerpoint/2010/main" val="6951952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B">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lvl1pPr>
          </a:lstStyle>
          <a:p>
            <a:r>
              <a:rPr lang="nl-NL" dirty="0"/>
              <a:t>Titel van de dia</a:t>
            </a:r>
          </a:p>
        </p:txBody>
      </p:sp>
      <p:sp>
        <p:nvSpPr>
          <p:cNvPr id="11" name="Freeform 5">
            <a:extLst>
              <a:ext uri="{FF2B5EF4-FFF2-40B4-BE49-F238E27FC236}">
                <a16:creationId xmlns:a16="http://schemas.microsoft.com/office/drawing/2014/main" id="{88EE543A-C7B4-49F5-9891-E7EBE9CD933C}"/>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1669967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Tekstblokken A">
    <p:spTree>
      <p:nvGrpSpPr>
        <p:cNvPr id="1" name=""/>
        <p:cNvGrpSpPr/>
        <p:nvPr/>
      </p:nvGrpSpPr>
      <p:grpSpPr>
        <a:xfrm>
          <a:off x="0" y="0"/>
          <a:ext cx="0" cy="0"/>
          <a:chOff x="0" y="0"/>
          <a:chExt cx="0" cy="0"/>
        </a:xfrm>
      </p:grpSpPr>
      <p:sp>
        <p:nvSpPr>
          <p:cNvPr id="14" name="Rechthoek 8">
            <a:extLst>
              <a:ext uri="{FF2B5EF4-FFF2-40B4-BE49-F238E27FC236}">
                <a16:creationId xmlns:a16="http://schemas.microsoft.com/office/drawing/2014/main" id="{B8BCC7EF-792B-4BA6-8F4C-BC27050CBBC4}"/>
              </a:ext>
            </a:extLst>
          </p:cNvPr>
          <p:cNvSpPr/>
          <p:nvPr userDrawn="1"/>
        </p:nvSpPr>
        <p:spPr>
          <a:xfrm>
            <a:off x="0" y="0"/>
            <a:ext cx="599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6" y="1196976"/>
            <a:ext cx="4572000" cy="5111750"/>
          </a:xfrm>
        </p:spPr>
        <p:txBody>
          <a:bodyPr numCol="1" spcCol="75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1055688" y="501650"/>
            <a:ext cx="4572000" cy="443198"/>
          </a:xfrm>
        </p:spPr>
        <p:txBody>
          <a:bodyPr/>
          <a:lstStyle>
            <a:lvl1pPr>
              <a:defRPr>
                <a:solidFill>
                  <a:schemeClr val="bg1"/>
                </a:solidFill>
              </a:defRPr>
            </a:lvl1pPr>
          </a:lstStyle>
          <a:p>
            <a:r>
              <a:rPr lang="nl-NL" dirty="0"/>
              <a:t>Titel van de dia</a:t>
            </a:r>
          </a:p>
        </p:txBody>
      </p:sp>
      <p:sp>
        <p:nvSpPr>
          <p:cNvPr id="13" name="Tijdelijke aanduiding voor tekst 11">
            <a:extLst>
              <a:ext uri="{FF2B5EF4-FFF2-40B4-BE49-F238E27FC236}">
                <a16:creationId xmlns:a16="http://schemas.microsoft.com/office/drawing/2014/main" id="{B1C21215-6F13-43E4-AD72-3124E4F638AD}"/>
              </a:ext>
            </a:extLst>
          </p:cNvPr>
          <p:cNvSpPr>
            <a:spLocks noGrp="1"/>
          </p:cNvSpPr>
          <p:nvPr>
            <p:ph type="body" sz="quarter" idx="14" hasCustomPrompt="1"/>
          </p:nvPr>
        </p:nvSpPr>
        <p:spPr>
          <a:xfrm>
            <a:off x="6527800" y="1196976"/>
            <a:ext cx="4608513" cy="5111750"/>
          </a:xfrm>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521679414"/>
      </p:ext>
    </p:extLst>
  </p:cSld>
  <p:clrMapOvr>
    <a:masterClrMapping/>
  </p:clrMapOvr>
  <p:extLst>
    <p:ext uri="{DCECCB84-F9BA-43D5-87BE-67443E8EF086}">
      <p15:sldGuideLst xmlns:p15="http://schemas.microsoft.com/office/powerpoint/2012/main">
        <p15:guide id="1" pos="411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Tekstblokken B">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tekst 11">
            <a:extLst>
              <a:ext uri="{FF2B5EF4-FFF2-40B4-BE49-F238E27FC236}">
                <a16:creationId xmlns:a16="http://schemas.microsoft.com/office/drawing/2014/main" id="{B1C21215-6F13-43E4-AD72-3124E4F638AD}"/>
              </a:ext>
            </a:extLst>
          </p:cNvPr>
          <p:cNvSpPr>
            <a:spLocks noGrp="1"/>
          </p:cNvSpPr>
          <p:nvPr>
            <p:ph type="body" sz="quarter" idx="14" hasCustomPrompt="1"/>
          </p:nvPr>
        </p:nvSpPr>
        <p:spPr>
          <a:xfrm>
            <a:off x="6528313" y="1196976"/>
            <a:ext cx="4608000" cy="5111750"/>
          </a:xfrm>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Tree>
    <p:extLst>
      <p:ext uri="{BB962C8B-B14F-4D97-AF65-F5344CB8AC3E}">
        <p14:creationId xmlns:p14="http://schemas.microsoft.com/office/powerpoint/2010/main" val="2031657781"/>
      </p:ext>
    </p:extLst>
  </p:cSld>
  <p:clrMapOvr>
    <a:masterClrMapping/>
  </p:clrMapOvr>
  <p:extLst>
    <p:ext uri="{DCECCB84-F9BA-43D5-87BE-67443E8EF086}">
      <p15:sldGuideLst xmlns:p15="http://schemas.microsoft.com/office/powerpoint/2012/main">
        <p15:guide id="1" pos="4112" userDrawn="1">
          <p15:clr>
            <a:srgbClr val="FBAE40"/>
          </p15:clr>
        </p15:guide>
        <p15:guide id="2" pos="3545"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A">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8" y="1196975"/>
            <a:ext cx="6516688" cy="5111750"/>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1055688" y="501650"/>
            <a:ext cx="6516689" cy="443198"/>
          </a:xfrm>
        </p:spPr>
        <p:txBody>
          <a:bodyPr/>
          <a:lstStyle>
            <a:lvl1pPr>
              <a:defRPr/>
            </a:lvl1pPr>
          </a:lstStyle>
          <a:p>
            <a:r>
              <a:rPr lang="nl-NL" dirty="0"/>
              <a:t>Titel van de dia</a:t>
            </a:r>
          </a:p>
        </p:txBody>
      </p:sp>
      <p:sp>
        <p:nvSpPr>
          <p:cNvPr id="11" name="Freeform 5">
            <a:extLst>
              <a:ext uri="{FF2B5EF4-FFF2-40B4-BE49-F238E27FC236}">
                <a16:creationId xmlns:a16="http://schemas.microsoft.com/office/drawing/2014/main" id="{88EE543A-C7B4-49F5-9891-E7EBE9CD933C}"/>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9" name="Tijdelijke aanduiding voor afbeelding 8">
            <a:extLst>
              <a:ext uri="{FF2B5EF4-FFF2-40B4-BE49-F238E27FC236}">
                <a16:creationId xmlns:a16="http://schemas.microsoft.com/office/drawing/2014/main" id="{901E696E-F0B5-4BF4-8BB7-D1D149649E7B}"/>
              </a:ext>
            </a:extLst>
          </p:cNvPr>
          <p:cNvSpPr>
            <a:spLocks noGrp="1"/>
          </p:cNvSpPr>
          <p:nvPr>
            <p:ph type="pic" sz="quarter" idx="14" hasCustomPrompt="1"/>
          </p:nvPr>
        </p:nvSpPr>
        <p:spPr>
          <a:xfrm>
            <a:off x="8142288" y="0"/>
            <a:ext cx="4049712" cy="6858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2090204255"/>
      </p:ext>
    </p:extLst>
  </p:cSld>
  <p:clrMapOvr>
    <a:masterClrMapping/>
  </p:clrMapOvr>
  <p:extLst>
    <p:ext uri="{DCECCB84-F9BA-43D5-87BE-67443E8EF086}">
      <p15:sldGuideLst xmlns:p15="http://schemas.microsoft.com/office/powerpoint/2012/main">
        <p15:guide id="1" pos="4770" userDrawn="1">
          <p15:clr>
            <a:srgbClr val="FBAE40"/>
          </p15:clr>
        </p15:guide>
        <p15:guide id="2" pos="51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fbeelding en Tekst A">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4619625" y="1196975"/>
            <a:ext cx="6516688" cy="5111750"/>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a:xfrm>
            <a:off x="4619625" y="501650"/>
            <a:ext cx="4702175" cy="443198"/>
          </a:xfrm>
        </p:spPr>
        <p:txBody>
          <a:bodyPr/>
          <a:lstStyle>
            <a:lvl1pPr>
              <a:defRPr/>
            </a:lvl1pPr>
          </a:lstStyle>
          <a:p>
            <a:r>
              <a:rPr lang="nl-NL" dirty="0"/>
              <a:t>Titel van de dia</a:t>
            </a:r>
          </a:p>
        </p:txBody>
      </p:sp>
      <p:sp>
        <p:nvSpPr>
          <p:cNvPr id="9" name="Tijdelijke aanduiding voor afbeelding 8">
            <a:extLst>
              <a:ext uri="{FF2B5EF4-FFF2-40B4-BE49-F238E27FC236}">
                <a16:creationId xmlns:a16="http://schemas.microsoft.com/office/drawing/2014/main" id="{901E696E-F0B5-4BF4-8BB7-D1D149649E7B}"/>
              </a:ext>
            </a:extLst>
          </p:cNvPr>
          <p:cNvSpPr>
            <a:spLocks noGrp="1"/>
          </p:cNvSpPr>
          <p:nvPr>
            <p:ph type="pic" sz="quarter" idx="14" hasCustomPrompt="1"/>
          </p:nvPr>
        </p:nvSpPr>
        <p:spPr>
          <a:xfrm>
            <a:off x="0" y="0"/>
            <a:ext cx="4049712" cy="6858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2" name="Tijdelijke aanduiding voor voettekst 1">
            <a:extLst>
              <a:ext uri="{FF2B5EF4-FFF2-40B4-BE49-F238E27FC236}">
                <a16:creationId xmlns:a16="http://schemas.microsoft.com/office/drawing/2014/main" id="{777C97E1-914A-4C58-8E40-B623D3782C82}"/>
              </a:ext>
            </a:extLst>
          </p:cNvPr>
          <p:cNvSpPr>
            <a:spLocks noGrp="1"/>
          </p:cNvSpPr>
          <p:nvPr>
            <p:ph type="ftr" sz="quarter" idx="15"/>
          </p:nvPr>
        </p:nvSpPr>
        <p:spPr/>
        <p:txBody>
          <a:bodyPr/>
          <a:lstStyle/>
          <a:p>
            <a:r>
              <a:rPr lang="nl-NL"/>
              <a:t>Naam van de presentatie invullen via Invoegen - Koptekst en voettekst</a:t>
            </a:r>
          </a:p>
        </p:txBody>
      </p:sp>
      <p:sp>
        <p:nvSpPr>
          <p:cNvPr id="10" name="Vrije vorm: vorm 9">
            <a:extLst>
              <a:ext uri="{FF2B5EF4-FFF2-40B4-BE49-F238E27FC236}">
                <a16:creationId xmlns:a16="http://schemas.microsoft.com/office/drawing/2014/main" id="{6C03A3FA-BCB0-49FF-9405-3B83588DCC35}"/>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638311316"/>
      </p:ext>
    </p:extLst>
  </p:cSld>
  <p:clrMapOvr>
    <a:masterClrMapping/>
  </p:clrMapOvr>
  <p:extLst>
    <p:ext uri="{DCECCB84-F9BA-43D5-87BE-67443E8EF086}">
      <p15:sldGuideLst xmlns:p15="http://schemas.microsoft.com/office/powerpoint/2012/main">
        <p15:guide id="1" pos="2910" userDrawn="1">
          <p15:clr>
            <a:srgbClr val="FBAE40"/>
          </p15:clr>
        </p15:guide>
        <p15:guide id="2" pos="257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kst en 2 liggende afbeeldingen">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
        <p:nvSpPr>
          <p:cNvPr id="11" name="Tijdelijke aanduiding voor afbeelding 8">
            <a:extLst>
              <a:ext uri="{FF2B5EF4-FFF2-40B4-BE49-F238E27FC236}">
                <a16:creationId xmlns:a16="http://schemas.microsoft.com/office/drawing/2014/main" id="{A735B7BD-8D07-4AE3-8A63-C5F0104F58BC}"/>
              </a:ext>
            </a:extLst>
          </p:cNvPr>
          <p:cNvSpPr>
            <a:spLocks noGrp="1"/>
          </p:cNvSpPr>
          <p:nvPr>
            <p:ph type="pic" sz="quarter" idx="14" hasCustomPrompt="1"/>
          </p:nvPr>
        </p:nvSpPr>
        <p:spPr>
          <a:xfrm>
            <a:off x="6167438" y="4122000"/>
            <a:ext cx="6024562" cy="2736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5" name="Tijdelijke aanduiding voor afbeelding 8">
            <a:extLst>
              <a:ext uri="{FF2B5EF4-FFF2-40B4-BE49-F238E27FC236}">
                <a16:creationId xmlns:a16="http://schemas.microsoft.com/office/drawing/2014/main" id="{CF69461D-B619-4696-943D-1F0E99C25F74}"/>
              </a:ext>
            </a:extLst>
          </p:cNvPr>
          <p:cNvSpPr>
            <a:spLocks noGrp="1"/>
          </p:cNvSpPr>
          <p:nvPr>
            <p:ph type="pic" sz="quarter" idx="15" hasCustomPrompt="1"/>
          </p:nvPr>
        </p:nvSpPr>
        <p:spPr>
          <a:xfrm>
            <a:off x="6167438" y="1196975"/>
            <a:ext cx="6024562" cy="27360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874810824"/>
      </p:ext>
    </p:extLst>
  </p:cSld>
  <p:clrMapOvr>
    <a:masterClrMapping/>
  </p:clrMapOvr>
  <p:extLst>
    <p:ext uri="{DCECCB84-F9BA-43D5-87BE-67443E8EF086}">
      <p15:sldGuideLst xmlns:p15="http://schemas.microsoft.com/office/powerpoint/2012/main">
        <p15:guide id="1" pos="3545" userDrawn="1">
          <p15:clr>
            <a:srgbClr val="FBAE40"/>
          </p15:clr>
        </p15:guide>
        <p15:guide id="2" pos="388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kst en 2 staande afbeeldingen">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1055687" y="1196976"/>
            <a:ext cx="4572001" cy="5111750"/>
          </a:xfrm>
        </p:spPr>
        <p:txBody>
          <a:bodyPr numCol="1" spcCol="75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7" name="Title 6">
            <a:extLst>
              <a:ext uri="{FF2B5EF4-FFF2-40B4-BE49-F238E27FC236}">
                <a16:creationId xmlns:a16="http://schemas.microsoft.com/office/drawing/2014/main" id="{D4000F28-B429-468C-B18F-39EF4586B3CF}"/>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
        <p:nvSpPr>
          <p:cNvPr id="15" name="Tijdelijke aanduiding voor afbeelding 8">
            <a:extLst>
              <a:ext uri="{FF2B5EF4-FFF2-40B4-BE49-F238E27FC236}">
                <a16:creationId xmlns:a16="http://schemas.microsoft.com/office/drawing/2014/main" id="{CF69461D-B619-4696-943D-1F0E99C25F74}"/>
              </a:ext>
            </a:extLst>
          </p:cNvPr>
          <p:cNvSpPr>
            <a:spLocks noGrp="1"/>
          </p:cNvSpPr>
          <p:nvPr>
            <p:ph type="pic" sz="quarter" idx="15" hasCustomPrompt="1"/>
          </p:nvPr>
        </p:nvSpPr>
        <p:spPr>
          <a:xfrm>
            <a:off x="6167438" y="1196974"/>
            <a:ext cx="2925762" cy="5661025"/>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9" name="Tijdelijke aanduiding voor afbeelding 8">
            <a:extLst>
              <a:ext uri="{FF2B5EF4-FFF2-40B4-BE49-F238E27FC236}">
                <a16:creationId xmlns:a16="http://schemas.microsoft.com/office/drawing/2014/main" id="{E751A6F4-5905-4D8F-A605-150F67116EFC}"/>
              </a:ext>
            </a:extLst>
          </p:cNvPr>
          <p:cNvSpPr>
            <a:spLocks noGrp="1"/>
          </p:cNvSpPr>
          <p:nvPr>
            <p:ph type="pic" sz="quarter" idx="16" hasCustomPrompt="1"/>
          </p:nvPr>
        </p:nvSpPr>
        <p:spPr>
          <a:xfrm>
            <a:off x="9266238" y="1196974"/>
            <a:ext cx="2925762" cy="5661025"/>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785618285"/>
      </p:ext>
    </p:extLst>
  </p:cSld>
  <p:clrMapOvr>
    <a:masterClrMapping/>
  </p:clrMapOvr>
  <p:extLst>
    <p:ext uri="{DCECCB84-F9BA-43D5-87BE-67443E8EF086}">
      <p15:sldGuideLst xmlns:p15="http://schemas.microsoft.com/office/powerpoint/2012/main">
        <p15:guide id="1" pos="3545">
          <p15:clr>
            <a:srgbClr val="FBAE40"/>
          </p15:clr>
        </p15:guide>
        <p15:guide id="2" pos="388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392E7-3420-4963-8894-834522BD777F}"/>
              </a:ext>
            </a:extLst>
          </p:cNvPr>
          <p:cNvSpPr>
            <a:spLocks noGrp="1"/>
          </p:cNvSpPr>
          <p:nvPr>
            <p:ph type="title" hasCustomPrompt="1"/>
          </p:nvPr>
        </p:nvSpPr>
        <p:spPr>
          <a:xfrm>
            <a:off x="1055687" y="501650"/>
            <a:ext cx="5724525" cy="443198"/>
          </a:xfrm>
        </p:spPr>
        <p:txBody>
          <a:bodyPr/>
          <a:lstStyle>
            <a:lvl1pPr>
              <a:defRPr/>
            </a:lvl1pPr>
          </a:lstStyle>
          <a:p>
            <a:r>
              <a:rPr lang="nl-NL" dirty="0"/>
              <a:t>Titel van de dia</a:t>
            </a:r>
          </a:p>
        </p:txBody>
      </p:sp>
      <p:sp>
        <p:nvSpPr>
          <p:cNvPr id="4" name="Tijdelijke aanduiding voor dianummer 3">
            <a:extLst>
              <a:ext uri="{FF2B5EF4-FFF2-40B4-BE49-F238E27FC236}">
                <a16:creationId xmlns:a16="http://schemas.microsoft.com/office/drawing/2014/main" id="{89BD0CE8-8BBF-4EED-ADBF-9673D865BBD3}"/>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10" name="Tijdelijke aanduiding voor tekst 9">
            <a:extLst>
              <a:ext uri="{FF2B5EF4-FFF2-40B4-BE49-F238E27FC236}">
                <a16:creationId xmlns:a16="http://schemas.microsoft.com/office/drawing/2014/main" id="{BF1E6C5A-0661-43AD-B0CD-7E98263E6B7A}"/>
              </a:ext>
            </a:extLst>
          </p:cNvPr>
          <p:cNvSpPr>
            <a:spLocks noGrp="1"/>
          </p:cNvSpPr>
          <p:nvPr>
            <p:ph type="body" sz="quarter" idx="12" hasCustomPrompt="1"/>
          </p:nvPr>
        </p:nvSpPr>
        <p:spPr>
          <a:xfrm>
            <a:off x="1055687" y="1196975"/>
            <a:ext cx="5724525" cy="5111750"/>
          </a:xfrm>
        </p:spPr>
        <p:txBody>
          <a:bodyPr/>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6" name="Tijdelijke aanduiding voor afbeelding 15">
            <a:extLst>
              <a:ext uri="{FF2B5EF4-FFF2-40B4-BE49-F238E27FC236}">
                <a16:creationId xmlns:a16="http://schemas.microsoft.com/office/drawing/2014/main" id="{9B47C87A-2844-4D78-B816-0C529B06267B}"/>
              </a:ext>
            </a:extLst>
          </p:cNvPr>
          <p:cNvSpPr>
            <a:spLocks noGrp="1"/>
          </p:cNvSpPr>
          <p:nvPr>
            <p:ph type="pic" sz="quarter" idx="14" hasCustomPrompt="1"/>
          </p:nvPr>
        </p:nvSpPr>
        <p:spPr>
          <a:xfrm>
            <a:off x="7454289" y="0"/>
            <a:ext cx="4737711" cy="6858000"/>
          </a:xfrm>
          <a:custGeom>
            <a:avLst/>
            <a:gdLst>
              <a:gd name="connsiteX0" fmla="*/ 1166225 w 4737711"/>
              <a:gd name="connsiteY0" fmla="*/ 0 h 6858000"/>
              <a:gd name="connsiteX1" fmla="*/ 1167097 w 4737711"/>
              <a:gd name="connsiteY1" fmla="*/ 0 h 6858000"/>
              <a:gd name="connsiteX2" fmla="*/ 1173201 w 4737711"/>
              <a:gd name="connsiteY2" fmla="*/ 0 h 6858000"/>
              <a:gd name="connsiteX3" fmla="*/ 1189768 w 4737711"/>
              <a:gd name="connsiteY3" fmla="*/ 0 h 6858000"/>
              <a:gd name="connsiteX4" fmla="*/ 1222030 w 4737711"/>
              <a:gd name="connsiteY4" fmla="*/ 0 h 6858000"/>
              <a:gd name="connsiteX5" fmla="*/ 1275218 w 4737711"/>
              <a:gd name="connsiteY5" fmla="*/ 0 h 6858000"/>
              <a:gd name="connsiteX6" fmla="*/ 1311295 w 4737711"/>
              <a:gd name="connsiteY6" fmla="*/ 0 h 6858000"/>
              <a:gd name="connsiteX7" fmla="*/ 1354565 w 4737711"/>
              <a:gd name="connsiteY7" fmla="*/ 0 h 6858000"/>
              <a:gd name="connsiteX8" fmla="*/ 1405683 w 4737711"/>
              <a:gd name="connsiteY8" fmla="*/ 0 h 6858000"/>
              <a:gd name="connsiteX9" fmla="*/ 1465302 w 4737711"/>
              <a:gd name="connsiteY9" fmla="*/ 0 h 6858000"/>
              <a:gd name="connsiteX10" fmla="*/ 1534077 w 4737711"/>
              <a:gd name="connsiteY10" fmla="*/ 0 h 6858000"/>
              <a:gd name="connsiteX11" fmla="*/ 1612661 w 4737711"/>
              <a:gd name="connsiteY11" fmla="*/ 0 h 6858000"/>
              <a:gd name="connsiteX12" fmla="*/ 1701708 w 4737711"/>
              <a:gd name="connsiteY12" fmla="*/ 0 h 6858000"/>
              <a:gd name="connsiteX13" fmla="*/ 1801873 w 4737711"/>
              <a:gd name="connsiteY13" fmla="*/ 0 h 6858000"/>
              <a:gd name="connsiteX14" fmla="*/ 1913809 w 4737711"/>
              <a:gd name="connsiteY14" fmla="*/ 0 h 6858000"/>
              <a:gd name="connsiteX15" fmla="*/ 2038170 w 4737711"/>
              <a:gd name="connsiteY15" fmla="*/ 0 h 6858000"/>
              <a:gd name="connsiteX16" fmla="*/ 2175610 w 4737711"/>
              <a:gd name="connsiteY16" fmla="*/ 0 h 6858000"/>
              <a:gd name="connsiteX17" fmla="*/ 2326784 w 4737711"/>
              <a:gd name="connsiteY17" fmla="*/ 0 h 6858000"/>
              <a:gd name="connsiteX18" fmla="*/ 2492344 w 4737711"/>
              <a:gd name="connsiteY18" fmla="*/ 0 h 6858000"/>
              <a:gd name="connsiteX19" fmla="*/ 2672946 w 4737711"/>
              <a:gd name="connsiteY19" fmla="*/ 0 h 6858000"/>
              <a:gd name="connsiteX20" fmla="*/ 2869242 w 4737711"/>
              <a:gd name="connsiteY20" fmla="*/ 0 h 6858000"/>
              <a:gd name="connsiteX21" fmla="*/ 3081888 w 4737711"/>
              <a:gd name="connsiteY21" fmla="*/ 0 h 6858000"/>
              <a:gd name="connsiteX22" fmla="*/ 3311536 w 4737711"/>
              <a:gd name="connsiteY22" fmla="*/ 0 h 6858000"/>
              <a:gd name="connsiteX23" fmla="*/ 3558842 w 4737711"/>
              <a:gd name="connsiteY23" fmla="*/ 0 h 6858000"/>
              <a:gd name="connsiteX24" fmla="*/ 3824458 w 4737711"/>
              <a:gd name="connsiteY24" fmla="*/ 0 h 6858000"/>
              <a:gd name="connsiteX25" fmla="*/ 4109039 w 4737711"/>
              <a:gd name="connsiteY25" fmla="*/ 0 h 6858000"/>
              <a:gd name="connsiteX26" fmla="*/ 4413239 w 4737711"/>
              <a:gd name="connsiteY26" fmla="*/ 0 h 6858000"/>
              <a:gd name="connsiteX27" fmla="*/ 4737711 w 4737711"/>
              <a:gd name="connsiteY27" fmla="*/ 0 h 6858000"/>
              <a:gd name="connsiteX28" fmla="*/ 4737711 w 4737711"/>
              <a:gd name="connsiteY28" fmla="*/ 6858000 h 6858000"/>
              <a:gd name="connsiteX29" fmla="*/ 4736855 w 4737711"/>
              <a:gd name="connsiteY29" fmla="*/ 6858000 h 6858000"/>
              <a:gd name="connsiteX30" fmla="*/ 4730859 w 4737711"/>
              <a:gd name="connsiteY30" fmla="*/ 6858000 h 6858000"/>
              <a:gd name="connsiteX31" fmla="*/ 4714586 w 4737711"/>
              <a:gd name="connsiteY31" fmla="*/ 6858000 h 6858000"/>
              <a:gd name="connsiteX32" fmla="*/ 4682897 w 4737711"/>
              <a:gd name="connsiteY32" fmla="*/ 6858000 h 6858000"/>
              <a:gd name="connsiteX33" fmla="*/ 4630652 w 4737711"/>
              <a:gd name="connsiteY33" fmla="*/ 6858000 h 6858000"/>
              <a:gd name="connsiteX34" fmla="*/ 4595216 w 4737711"/>
              <a:gd name="connsiteY34" fmla="*/ 6858000 h 6858000"/>
              <a:gd name="connsiteX35" fmla="*/ 4552713 w 4737711"/>
              <a:gd name="connsiteY35" fmla="*/ 6858000 h 6858000"/>
              <a:gd name="connsiteX36" fmla="*/ 4502503 w 4737711"/>
              <a:gd name="connsiteY36" fmla="*/ 6858000 h 6858000"/>
              <a:gd name="connsiteX37" fmla="*/ 4443941 w 4737711"/>
              <a:gd name="connsiteY37" fmla="*/ 6858000 h 6858000"/>
              <a:gd name="connsiteX38" fmla="*/ 4376387 w 4737711"/>
              <a:gd name="connsiteY38" fmla="*/ 6858000 h 6858000"/>
              <a:gd name="connsiteX39" fmla="*/ 4299198 w 4737711"/>
              <a:gd name="connsiteY39" fmla="*/ 6858000 h 6858000"/>
              <a:gd name="connsiteX40" fmla="*/ 4211731 w 4737711"/>
              <a:gd name="connsiteY40" fmla="*/ 6858000 h 6858000"/>
              <a:gd name="connsiteX41" fmla="*/ 4113343 w 4737711"/>
              <a:gd name="connsiteY41" fmla="*/ 6858000 h 6858000"/>
              <a:gd name="connsiteX42" fmla="*/ 4003394 w 4737711"/>
              <a:gd name="connsiteY42" fmla="*/ 6858000 h 6858000"/>
              <a:gd name="connsiteX43" fmla="*/ 3881240 w 4737711"/>
              <a:gd name="connsiteY43" fmla="*/ 6858000 h 6858000"/>
              <a:gd name="connsiteX44" fmla="*/ 3746239 w 4737711"/>
              <a:gd name="connsiteY44" fmla="*/ 6858000 h 6858000"/>
              <a:gd name="connsiteX45" fmla="*/ 3597748 w 4737711"/>
              <a:gd name="connsiteY45" fmla="*/ 6858000 h 6858000"/>
              <a:gd name="connsiteX46" fmla="*/ 3435125 w 4737711"/>
              <a:gd name="connsiteY46" fmla="*/ 6858000 h 6858000"/>
              <a:gd name="connsiteX47" fmla="*/ 3257729 w 4737711"/>
              <a:gd name="connsiteY47" fmla="*/ 6858000 h 6858000"/>
              <a:gd name="connsiteX48" fmla="*/ 3064916 w 4737711"/>
              <a:gd name="connsiteY48" fmla="*/ 6858000 h 6858000"/>
              <a:gd name="connsiteX49" fmla="*/ 2856044 w 4737711"/>
              <a:gd name="connsiteY49" fmla="*/ 6858000 h 6858000"/>
              <a:gd name="connsiteX50" fmla="*/ 2630471 w 4737711"/>
              <a:gd name="connsiteY50" fmla="*/ 6858000 h 6858000"/>
              <a:gd name="connsiteX51" fmla="*/ 2387554 w 4737711"/>
              <a:gd name="connsiteY51" fmla="*/ 6858000 h 6858000"/>
              <a:gd name="connsiteX52" fmla="*/ 2126652 w 4737711"/>
              <a:gd name="connsiteY52" fmla="*/ 6858000 h 6858000"/>
              <a:gd name="connsiteX53" fmla="*/ 1847121 w 4737711"/>
              <a:gd name="connsiteY53" fmla="*/ 6858000 h 6858000"/>
              <a:gd name="connsiteX54" fmla="*/ 1548319 w 4737711"/>
              <a:gd name="connsiteY54" fmla="*/ 6858000 h 6858000"/>
              <a:gd name="connsiteX55" fmla="*/ 1229605 w 4737711"/>
              <a:gd name="connsiteY55" fmla="*/ 6858000 h 6858000"/>
              <a:gd name="connsiteX56" fmla="*/ 931717 w 4737711"/>
              <a:gd name="connsiteY56" fmla="*/ 6559550 h 6858000"/>
              <a:gd name="connsiteX57" fmla="*/ 912703 w 4737711"/>
              <a:gd name="connsiteY57" fmla="*/ 1933575 h 6858000"/>
              <a:gd name="connsiteX58" fmla="*/ 1438760 w 4737711"/>
              <a:gd name="connsiteY58" fmla="*/ 1406525 h 6858000"/>
              <a:gd name="connsiteX59" fmla="*/ 1609887 w 4737711"/>
              <a:gd name="connsiteY59" fmla="*/ 1155700 h 6858000"/>
              <a:gd name="connsiteX60" fmla="*/ 1438760 w 4737711"/>
              <a:gd name="connsiteY60" fmla="*/ 276225 h 6858000"/>
              <a:gd name="connsiteX61" fmla="*/ 1166225 w 4737711"/>
              <a:gd name="connsiteY6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37711" h="6858000">
                <a:moveTo>
                  <a:pt x="1166225" y="0"/>
                </a:moveTo>
                <a:lnTo>
                  <a:pt x="1167097" y="0"/>
                </a:lnTo>
                <a:lnTo>
                  <a:pt x="1173201" y="0"/>
                </a:lnTo>
                <a:lnTo>
                  <a:pt x="1189768" y="0"/>
                </a:lnTo>
                <a:lnTo>
                  <a:pt x="1222030" y="0"/>
                </a:lnTo>
                <a:lnTo>
                  <a:pt x="1275218" y="0"/>
                </a:lnTo>
                <a:lnTo>
                  <a:pt x="1311295" y="0"/>
                </a:lnTo>
                <a:lnTo>
                  <a:pt x="1354565" y="0"/>
                </a:lnTo>
                <a:lnTo>
                  <a:pt x="1405683" y="0"/>
                </a:lnTo>
                <a:lnTo>
                  <a:pt x="1465302" y="0"/>
                </a:lnTo>
                <a:lnTo>
                  <a:pt x="1534077" y="0"/>
                </a:lnTo>
                <a:lnTo>
                  <a:pt x="1612661" y="0"/>
                </a:lnTo>
                <a:lnTo>
                  <a:pt x="1701708" y="0"/>
                </a:lnTo>
                <a:lnTo>
                  <a:pt x="1801873" y="0"/>
                </a:lnTo>
                <a:lnTo>
                  <a:pt x="1913809" y="0"/>
                </a:lnTo>
                <a:lnTo>
                  <a:pt x="2038170" y="0"/>
                </a:lnTo>
                <a:lnTo>
                  <a:pt x="2175610" y="0"/>
                </a:lnTo>
                <a:lnTo>
                  <a:pt x="2326784" y="0"/>
                </a:lnTo>
                <a:lnTo>
                  <a:pt x="2492344" y="0"/>
                </a:lnTo>
                <a:lnTo>
                  <a:pt x="2672946" y="0"/>
                </a:lnTo>
                <a:lnTo>
                  <a:pt x="2869242" y="0"/>
                </a:lnTo>
                <a:lnTo>
                  <a:pt x="3081888" y="0"/>
                </a:lnTo>
                <a:lnTo>
                  <a:pt x="3311536" y="0"/>
                </a:lnTo>
                <a:lnTo>
                  <a:pt x="3558842" y="0"/>
                </a:lnTo>
                <a:lnTo>
                  <a:pt x="3824458" y="0"/>
                </a:lnTo>
                <a:lnTo>
                  <a:pt x="4109039" y="0"/>
                </a:lnTo>
                <a:lnTo>
                  <a:pt x="4413239" y="0"/>
                </a:lnTo>
                <a:lnTo>
                  <a:pt x="4737711" y="0"/>
                </a:lnTo>
                <a:lnTo>
                  <a:pt x="4737711" y="6858000"/>
                </a:lnTo>
                <a:lnTo>
                  <a:pt x="4736855" y="6858000"/>
                </a:lnTo>
                <a:lnTo>
                  <a:pt x="4730859" y="6858000"/>
                </a:lnTo>
                <a:lnTo>
                  <a:pt x="4714586" y="6858000"/>
                </a:lnTo>
                <a:lnTo>
                  <a:pt x="4682897" y="6858000"/>
                </a:lnTo>
                <a:lnTo>
                  <a:pt x="4630652" y="6858000"/>
                </a:lnTo>
                <a:lnTo>
                  <a:pt x="4595216" y="6858000"/>
                </a:lnTo>
                <a:lnTo>
                  <a:pt x="4552713" y="6858000"/>
                </a:lnTo>
                <a:lnTo>
                  <a:pt x="4502503" y="6858000"/>
                </a:lnTo>
                <a:lnTo>
                  <a:pt x="4443941" y="6858000"/>
                </a:lnTo>
                <a:lnTo>
                  <a:pt x="4376387" y="6858000"/>
                </a:lnTo>
                <a:lnTo>
                  <a:pt x="4299198" y="6858000"/>
                </a:lnTo>
                <a:lnTo>
                  <a:pt x="4211731" y="6858000"/>
                </a:lnTo>
                <a:lnTo>
                  <a:pt x="4113343" y="6858000"/>
                </a:lnTo>
                <a:lnTo>
                  <a:pt x="4003394" y="6858000"/>
                </a:lnTo>
                <a:lnTo>
                  <a:pt x="3881240" y="6858000"/>
                </a:lnTo>
                <a:lnTo>
                  <a:pt x="3746239" y="6858000"/>
                </a:lnTo>
                <a:lnTo>
                  <a:pt x="3597748" y="6858000"/>
                </a:lnTo>
                <a:lnTo>
                  <a:pt x="3435125" y="6858000"/>
                </a:lnTo>
                <a:lnTo>
                  <a:pt x="3257729" y="6858000"/>
                </a:lnTo>
                <a:lnTo>
                  <a:pt x="3064916" y="6858000"/>
                </a:lnTo>
                <a:lnTo>
                  <a:pt x="2856044" y="6858000"/>
                </a:lnTo>
                <a:lnTo>
                  <a:pt x="2630471" y="6858000"/>
                </a:lnTo>
                <a:lnTo>
                  <a:pt x="2387554" y="6858000"/>
                </a:lnTo>
                <a:lnTo>
                  <a:pt x="2126652" y="6858000"/>
                </a:lnTo>
                <a:lnTo>
                  <a:pt x="1847121" y="6858000"/>
                </a:lnTo>
                <a:lnTo>
                  <a:pt x="1548319" y="6858000"/>
                </a:lnTo>
                <a:lnTo>
                  <a:pt x="1229605" y="6858000"/>
                </a:lnTo>
                <a:cubicBezTo>
                  <a:pt x="1229605" y="6858000"/>
                  <a:pt x="1229605" y="6858000"/>
                  <a:pt x="931717" y="6559550"/>
                </a:cubicBezTo>
                <a:cubicBezTo>
                  <a:pt x="-304201" y="5273675"/>
                  <a:pt x="-310539" y="3232150"/>
                  <a:pt x="912703" y="1933575"/>
                </a:cubicBezTo>
                <a:cubicBezTo>
                  <a:pt x="912703" y="1933575"/>
                  <a:pt x="912703" y="1933575"/>
                  <a:pt x="1438760" y="1406525"/>
                </a:cubicBezTo>
                <a:cubicBezTo>
                  <a:pt x="1514817" y="1333500"/>
                  <a:pt x="1568690" y="1247775"/>
                  <a:pt x="1609887" y="1155700"/>
                </a:cubicBezTo>
                <a:cubicBezTo>
                  <a:pt x="1733479" y="863600"/>
                  <a:pt x="1676437" y="514350"/>
                  <a:pt x="1438760" y="276225"/>
                </a:cubicBezTo>
                <a:cubicBezTo>
                  <a:pt x="1438760" y="276225"/>
                  <a:pt x="1438760" y="276225"/>
                  <a:pt x="1166225"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1" name="Freeform 5">
            <a:extLst>
              <a:ext uri="{FF2B5EF4-FFF2-40B4-BE49-F238E27FC236}">
                <a16:creationId xmlns:a16="http://schemas.microsoft.com/office/drawing/2014/main" id="{A12348A1-E976-4AB5-91CA-0848CC03AE84}"/>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1793050482"/>
      </p:ext>
    </p:extLst>
  </p:cSld>
  <p:clrMapOvr>
    <a:masterClrMapping/>
  </p:clrMapOvr>
  <p:extLst>
    <p:ext uri="{DCECCB84-F9BA-43D5-87BE-67443E8EF086}">
      <p15:sldGuideLst xmlns:p15="http://schemas.microsoft.com/office/powerpoint/2012/main">
        <p15:guide id="1" pos="4271" userDrawn="1">
          <p15:clr>
            <a:srgbClr val="FBAE40"/>
          </p15:clr>
        </p15:guide>
        <p15:guide id="2" pos="467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fbeelding en Tekst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392E7-3420-4963-8894-834522BD777F}"/>
              </a:ext>
            </a:extLst>
          </p:cNvPr>
          <p:cNvSpPr>
            <a:spLocks noGrp="1"/>
          </p:cNvSpPr>
          <p:nvPr>
            <p:ph type="title" hasCustomPrompt="1"/>
          </p:nvPr>
        </p:nvSpPr>
        <p:spPr>
          <a:xfrm>
            <a:off x="5411787" y="501650"/>
            <a:ext cx="5724525" cy="443198"/>
          </a:xfrm>
        </p:spPr>
        <p:txBody>
          <a:bodyPr/>
          <a:lstStyle>
            <a:lvl1pPr>
              <a:defRPr/>
            </a:lvl1pPr>
          </a:lstStyle>
          <a:p>
            <a:r>
              <a:rPr lang="nl-NL" dirty="0"/>
              <a:t>Titel van de dia</a:t>
            </a:r>
          </a:p>
        </p:txBody>
      </p:sp>
      <p:sp>
        <p:nvSpPr>
          <p:cNvPr id="4" name="Tijdelijke aanduiding voor dianummer 3">
            <a:extLst>
              <a:ext uri="{FF2B5EF4-FFF2-40B4-BE49-F238E27FC236}">
                <a16:creationId xmlns:a16="http://schemas.microsoft.com/office/drawing/2014/main" id="{89BD0CE8-8BBF-4EED-ADBF-9673D865BBD3}"/>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10" name="Tijdelijke aanduiding voor tekst 9">
            <a:extLst>
              <a:ext uri="{FF2B5EF4-FFF2-40B4-BE49-F238E27FC236}">
                <a16:creationId xmlns:a16="http://schemas.microsoft.com/office/drawing/2014/main" id="{BF1E6C5A-0661-43AD-B0CD-7E98263E6B7A}"/>
              </a:ext>
            </a:extLst>
          </p:cNvPr>
          <p:cNvSpPr>
            <a:spLocks noGrp="1"/>
          </p:cNvSpPr>
          <p:nvPr>
            <p:ph type="body" sz="quarter" idx="12" hasCustomPrompt="1"/>
          </p:nvPr>
        </p:nvSpPr>
        <p:spPr>
          <a:xfrm>
            <a:off x="5411787" y="1196975"/>
            <a:ext cx="5724525" cy="5111750"/>
          </a:xfrm>
        </p:spPr>
        <p:txBody>
          <a:bodyPr/>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4" name="Tijdelijke aanduiding voor afbeelding 13">
            <a:extLst>
              <a:ext uri="{FF2B5EF4-FFF2-40B4-BE49-F238E27FC236}">
                <a16:creationId xmlns:a16="http://schemas.microsoft.com/office/drawing/2014/main" id="{4760523C-5D9F-4D6A-B664-8131109BA67C}"/>
              </a:ext>
            </a:extLst>
          </p:cNvPr>
          <p:cNvSpPr>
            <a:spLocks noGrp="1"/>
          </p:cNvSpPr>
          <p:nvPr>
            <p:ph type="pic" sz="quarter" idx="15" hasCustomPrompt="1"/>
          </p:nvPr>
        </p:nvSpPr>
        <p:spPr>
          <a:xfrm>
            <a:off x="0" y="0"/>
            <a:ext cx="4737710" cy="6858000"/>
          </a:xfrm>
          <a:custGeom>
            <a:avLst/>
            <a:gdLst>
              <a:gd name="connsiteX0" fmla="*/ 0 w 4737710"/>
              <a:gd name="connsiteY0" fmla="*/ 0 h 6858000"/>
              <a:gd name="connsiteX1" fmla="*/ 324473 w 4737710"/>
              <a:gd name="connsiteY1" fmla="*/ 0 h 6858000"/>
              <a:gd name="connsiteX2" fmla="*/ 628672 w 4737710"/>
              <a:gd name="connsiteY2" fmla="*/ 0 h 6858000"/>
              <a:gd name="connsiteX3" fmla="*/ 913253 w 4737710"/>
              <a:gd name="connsiteY3" fmla="*/ 0 h 6858000"/>
              <a:gd name="connsiteX4" fmla="*/ 1178870 w 4737710"/>
              <a:gd name="connsiteY4" fmla="*/ 0 h 6858000"/>
              <a:gd name="connsiteX5" fmla="*/ 1426175 w 4737710"/>
              <a:gd name="connsiteY5" fmla="*/ 0 h 6858000"/>
              <a:gd name="connsiteX6" fmla="*/ 1655824 w 4737710"/>
              <a:gd name="connsiteY6" fmla="*/ 0 h 6858000"/>
              <a:gd name="connsiteX7" fmla="*/ 1868469 w 4737710"/>
              <a:gd name="connsiteY7" fmla="*/ 0 h 6858000"/>
              <a:gd name="connsiteX8" fmla="*/ 2064766 w 4737710"/>
              <a:gd name="connsiteY8" fmla="*/ 0 h 6858000"/>
              <a:gd name="connsiteX9" fmla="*/ 2245367 w 4737710"/>
              <a:gd name="connsiteY9" fmla="*/ 0 h 6858000"/>
              <a:gd name="connsiteX10" fmla="*/ 2410928 w 4737710"/>
              <a:gd name="connsiteY10" fmla="*/ 0 h 6858000"/>
              <a:gd name="connsiteX11" fmla="*/ 2562101 w 4737710"/>
              <a:gd name="connsiteY11" fmla="*/ 0 h 6858000"/>
              <a:gd name="connsiteX12" fmla="*/ 2699542 w 4737710"/>
              <a:gd name="connsiteY12" fmla="*/ 0 h 6858000"/>
              <a:gd name="connsiteX13" fmla="*/ 2823903 w 4737710"/>
              <a:gd name="connsiteY13" fmla="*/ 0 h 6858000"/>
              <a:gd name="connsiteX14" fmla="*/ 2935839 w 4737710"/>
              <a:gd name="connsiteY14" fmla="*/ 0 h 6858000"/>
              <a:gd name="connsiteX15" fmla="*/ 3036003 w 4737710"/>
              <a:gd name="connsiteY15" fmla="*/ 0 h 6858000"/>
              <a:gd name="connsiteX16" fmla="*/ 3125051 w 4737710"/>
              <a:gd name="connsiteY16" fmla="*/ 0 h 6858000"/>
              <a:gd name="connsiteX17" fmla="*/ 3203635 w 4737710"/>
              <a:gd name="connsiteY17" fmla="*/ 0 h 6858000"/>
              <a:gd name="connsiteX18" fmla="*/ 3272410 w 4737710"/>
              <a:gd name="connsiteY18" fmla="*/ 0 h 6858000"/>
              <a:gd name="connsiteX19" fmla="*/ 3332029 w 4737710"/>
              <a:gd name="connsiteY19" fmla="*/ 0 h 6858000"/>
              <a:gd name="connsiteX20" fmla="*/ 3383147 w 4737710"/>
              <a:gd name="connsiteY20" fmla="*/ 0 h 6858000"/>
              <a:gd name="connsiteX21" fmla="*/ 3426417 w 4737710"/>
              <a:gd name="connsiteY21" fmla="*/ 0 h 6858000"/>
              <a:gd name="connsiteX22" fmla="*/ 3462494 w 4737710"/>
              <a:gd name="connsiteY22" fmla="*/ 0 h 6858000"/>
              <a:gd name="connsiteX23" fmla="*/ 3515682 w 4737710"/>
              <a:gd name="connsiteY23" fmla="*/ 0 h 6858000"/>
              <a:gd name="connsiteX24" fmla="*/ 3547944 w 4737710"/>
              <a:gd name="connsiteY24" fmla="*/ 0 h 6858000"/>
              <a:gd name="connsiteX25" fmla="*/ 3564511 w 4737710"/>
              <a:gd name="connsiteY25" fmla="*/ 0 h 6858000"/>
              <a:gd name="connsiteX26" fmla="*/ 3570615 w 4737710"/>
              <a:gd name="connsiteY26" fmla="*/ 0 h 6858000"/>
              <a:gd name="connsiteX27" fmla="*/ 3571487 w 4737710"/>
              <a:gd name="connsiteY27" fmla="*/ 0 h 6858000"/>
              <a:gd name="connsiteX28" fmla="*/ 3298951 w 4737710"/>
              <a:gd name="connsiteY28" fmla="*/ 276225 h 6858000"/>
              <a:gd name="connsiteX29" fmla="*/ 3127824 w 4737710"/>
              <a:gd name="connsiteY29" fmla="*/ 1155700 h 6858000"/>
              <a:gd name="connsiteX30" fmla="*/ 3298951 w 4737710"/>
              <a:gd name="connsiteY30" fmla="*/ 1406525 h 6858000"/>
              <a:gd name="connsiteX31" fmla="*/ 3825008 w 4737710"/>
              <a:gd name="connsiteY31" fmla="*/ 1933575 h 6858000"/>
              <a:gd name="connsiteX32" fmla="*/ 3805994 w 4737710"/>
              <a:gd name="connsiteY32" fmla="*/ 6559550 h 6858000"/>
              <a:gd name="connsiteX33" fmla="*/ 3508106 w 4737710"/>
              <a:gd name="connsiteY33" fmla="*/ 6858000 h 6858000"/>
              <a:gd name="connsiteX34" fmla="*/ 3189392 w 4737710"/>
              <a:gd name="connsiteY34" fmla="*/ 6858000 h 6858000"/>
              <a:gd name="connsiteX35" fmla="*/ 2890590 w 4737710"/>
              <a:gd name="connsiteY35" fmla="*/ 6858000 h 6858000"/>
              <a:gd name="connsiteX36" fmla="*/ 2611060 w 4737710"/>
              <a:gd name="connsiteY36" fmla="*/ 6858000 h 6858000"/>
              <a:gd name="connsiteX37" fmla="*/ 2350157 w 4737710"/>
              <a:gd name="connsiteY37" fmla="*/ 6858000 h 6858000"/>
              <a:gd name="connsiteX38" fmla="*/ 2107240 w 4737710"/>
              <a:gd name="connsiteY38" fmla="*/ 6858000 h 6858000"/>
              <a:gd name="connsiteX39" fmla="*/ 1881667 w 4737710"/>
              <a:gd name="connsiteY39" fmla="*/ 6858000 h 6858000"/>
              <a:gd name="connsiteX40" fmla="*/ 1672795 w 4737710"/>
              <a:gd name="connsiteY40" fmla="*/ 6858000 h 6858000"/>
              <a:gd name="connsiteX41" fmla="*/ 1479982 w 4737710"/>
              <a:gd name="connsiteY41" fmla="*/ 6858000 h 6858000"/>
              <a:gd name="connsiteX42" fmla="*/ 1302586 w 4737710"/>
              <a:gd name="connsiteY42" fmla="*/ 6858000 h 6858000"/>
              <a:gd name="connsiteX43" fmla="*/ 1139963 w 4737710"/>
              <a:gd name="connsiteY43" fmla="*/ 6858000 h 6858000"/>
              <a:gd name="connsiteX44" fmla="*/ 991473 w 4737710"/>
              <a:gd name="connsiteY44" fmla="*/ 6858000 h 6858000"/>
              <a:gd name="connsiteX45" fmla="*/ 856471 w 4737710"/>
              <a:gd name="connsiteY45" fmla="*/ 6858000 h 6858000"/>
              <a:gd name="connsiteX46" fmla="*/ 734317 w 4737710"/>
              <a:gd name="connsiteY46" fmla="*/ 6858000 h 6858000"/>
              <a:gd name="connsiteX47" fmla="*/ 624368 w 4737710"/>
              <a:gd name="connsiteY47" fmla="*/ 6858000 h 6858000"/>
              <a:gd name="connsiteX48" fmla="*/ 525980 w 4737710"/>
              <a:gd name="connsiteY48" fmla="*/ 6858000 h 6858000"/>
              <a:gd name="connsiteX49" fmla="*/ 438513 w 4737710"/>
              <a:gd name="connsiteY49" fmla="*/ 6858000 h 6858000"/>
              <a:gd name="connsiteX50" fmla="*/ 361324 w 4737710"/>
              <a:gd name="connsiteY50" fmla="*/ 6858000 h 6858000"/>
              <a:gd name="connsiteX51" fmla="*/ 293770 w 4737710"/>
              <a:gd name="connsiteY51" fmla="*/ 6858000 h 6858000"/>
              <a:gd name="connsiteX52" fmla="*/ 235208 w 4737710"/>
              <a:gd name="connsiteY52" fmla="*/ 6858000 h 6858000"/>
              <a:gd name="connsiteX53" fmla="*/ 184998 w 4737710"/>
              <a:gd name="connsiteY53" fmla="*/ 6858000 h 6858000"/>
              <a:gd name="connsiteX54" fmla="*/ 142495 w 4737710"/>
              <a:gd name="connsiteY54" fmla="*/ 6858000 h 6858000"/>
              <a:gd name="connsiteX55" fmla="*/ 107059 w 4737710"/>
              <a:gd name="connsiteY55" fmla="*/ 6858000 h 6858000"/>
              <a:gd name="connsiteX56" fmla="*/ 54814 w 4737710"/>
              <a:gd name="connsiteY56" fmla="*/ 6858000 h 6858000"/>
              <a:gd name="connsiteX57" fmla="*/ 23125 w 4737710"/>
              <a:gd name="connsiteY57" fmla="*/ 6858000 h 6858000"/>
              <a:gd name="connsiteX58" fmla="*/ 6852 w 4737710"/>
              <a:gd name="connsiteY58" fmla="*/ 6858000 h 6858000"/>
              <a:gd name="connsiteX59" fmla="*/ 857 w 4737710"/>
              <a:gd name="connsiteY59" fmla="*/ 6858000 h 6858000"/>
              <a:gd name="connsiteX60" fmla="*/ 0 w 4737710"/>
              <a:gd name="connsiteY6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37710" h="6858000">
                <a:moveTo>
                  <a:pt x="0" y="0"/>
                </a:moveTo>
                <a:lnTo>
                  <a:pt x="324473" y="0"/>
                </a:lnTo>
                <a:lnTo>
                  <a:pt x="628672" y="0"/>
                </a:lnTo>
                <a:lnTo>
                  <a:pt x="913253" y="0"/>
                </a:lnTo>
                <a:lnTo>
                  <a:pt x="1178870" y="0"/>
                </a:lnTo>
                <a:lnTo>
                  <a:pt x="1426175" y="0"/>
                </a:lnTo>
                <a:lnTo>
                  <a:pt x="1655824" y="0"/>
                </a:lnTo>
                <a:lnTo>
                  <a:pt x="1868469" y="0"/>
                </a:lnTo>
                <a:lnTo>
                  <a:pt x="2064766" y="0"/>
                </a:lnTo>
                <a:lnTo>
                  <a:pt x="2245367" y="0"/>
                </a:lnTo>
                <a:lnTo>
                  <a:pt x="2410928" y="0"/>
                </a:lnTo>
                <a:lnTo>
                  <a:pt x="2562101" y="0"/>
                </a:lnTo>
                <a:lnTo>
                  <a:pt x="2699542" y="0"/>
                </a:lnTo>
                <a:lnTo>
                  <a:pt x="2823903" y="0"/>
                </a:lnTo>
                <a:lnTo>
                  <a:pt x="2935839" y="0"/>
                </a:lnTo>
                <a:lnTo>
                  <a:pt x="3036003" y="0"/>
                </a:lnTo>
                <a:lnTo>
                  <a:pt x="3125051" y="0"/>
                </a:lnTo>
                <a:lnTo>
                  <a:pt x="3203635" y="0"/>
                </a:lnTo>
                <a:lnTo>
                  <a:pt x="3272410" y="0"/>
                </a:lnTo>
                <a:lnTo>
                  <a:pt x="3332029" y="0"/>
                </a:lnTo>
                <a:lnTo>
                  <a:pt x="3383147" y="0"/>
                </a:lnTo>
                <a:lnTo>
                  <a:pt x="3426417" y="0"/>
                </a:lnTo>
                <a:lnTo>
                  <a:pt x="3462494" y="0"/>
                </a:lnTo>
                <a:lnTo>
                  <a:pt x="3515682" y="0"/>
                </a:lnTo>
                <a:lnTo>
                  <a:pt x="3547944" y="0"/>
                </a:lnTo>
                <a:lnTo>
                  <a:pt x="3564511" y="0"/>
                </a:lnTo>
                <a:lnTo>
                  <a:pt x="3570615" y="0"/>
                </a:lnTo>
                <a:lnTo>
                  <a:pt x="3571487" y="0"/>
                </a:lnTo>
                <a:cubicBezTo>
                  <a:pt x="3298951" y="276225"/>
                  <a:pt x="3298951" y="276225"/>
                  <a:pt x="3298951" y="276225"/>
                </a:cubicBezTo>
                <a:cubicBezTo>
                  <a:pt x="3061274" y="514350"/>
                  <a:pt x="3004232" y="863600"/>
                  <a:pt x="3127824" y="1155700"/>
                </a:cubicBezTo>
                <a:cubicBezTo>
                  <a:pt x="3169021" y="1247775"/>
                  <a:pt x="3222894" y="1333500"/>
                  <a:pt x="3298951" y="1406525"/>
                </a:cubicBezTo>
                <a:cubicBezTo>
                  <a:pt x="3825008" y="1933575"/>
                  <a:pt x="3825008" y="1933575"/>
                  <a:pt x="3825008" y="1933575"/>
                </a:cubicBezTo>
                <a:cubicBezTo>
                  <a:pt x="5048250" y="3232150"/>
                  <a:pt x="5041912" y="5273675"/>
                  <a:pt x="3805994" y="6559550"/>
                </a:cubicBezTo>
                <a:cubicBezTo>
                  <a:pt x="3508106" y="6858000"/>
                  <a:pt x="3508106" y="6858000"/>
                  <a:pt x="3508106" y="6858000"/>
                </a:cubicBezTo>
                <a:lnTo>
                  <a:pt x="3189392" y="6858000"/>
                </a:lnTo>
                <a:lnTo>
                  <a:pt x="2890590" y="6858000"/>
                </a:lnTo>
                <a:lnTo>
                  <a:pt x="2611060" y="6858000"/>
                </a:lnTo>
                <a:lnTo>
                  <a:pt x="2350157" y="6858000"/>
                </a:lnTo>
                <a:lnTo>
                  <a:pt x="2107240" y="6858000"/>
                </a:lnTo>
                <a:lnTo>
                  <a:pt x="1881667" y="6858000"/>
                </a:lnTo>
                <a:lnTo>
                  <a:pt x="1672795" y="6858000"/>
                </a:lnTo>
                <a:lnTo>
                  <a:pt x="1479982" y="6858000"/>
                </a:lnTo>
                <a:lnTo>
                  <a:pt x="1302586" y="6858000"/>
                </a:lnTo>
                <a:lnTo>
                  <a:pt x="1139963" y="6858000"/>
                </a:lnTo>
                <a:lnTo>
                  <a:pt x="991473" y="6858000"/>
                </a:lnTo>
                <a:lnTo>
                  <a:pt x="856471" y="6858000"/>
                </a:lnTo>
                <a:lnTo>
                  <a:pt x="734317" y="6858000"/>
                </a:lnTo>
                <a:lnTo>
                  <a:pt x="624368" y="6858000"/>
                </a:lnTo>
                <a:lnTo>
                  <a:pt x="525980" y="6858000"/>
                </a:lnTo>
                <a:lnTo>
                  <a:pt x="438513" y="6858000"/>
                </a:lnTo>
                <a:lnTo>
                  <a:pt x="361324" y="6858000"/>
                </a:lnTo>
                <a:lnTo>
                  <a:pt x="293770" y="6858000"/>
                </a:lnTo>
                <a:lnTo>
                  <a:pt x="235208" y="6858000"/>
                </a:lnTo>
                <a:lnTo>
                  <a:pt x="184998" y="6858000"/>
                </a:lnTo>
                <a:lnTo>
                  <a:pt x="142495" y="6858000"/>
                </a:lnTo>
                <a:lnTo>
                  <a:pt x="107059" y="6858000"/>
                </a:lnTo>
                <a:lnTo>
                  <a:pt x="54814" y="6858000"/>
                </a:lnTo>
                <a:lnTo>
                  <a:pt x="23125" y="6858000"/>
                </a:lnTo>
                <a:lnTo>
                  <a:pt x="6852" y="6858000"/>
                </a:lnTo>
                <a:lnTo>
                  <a:pt x="857"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3" name="Tijdelijke aanduiding voor voettekst 2">
            <a:extLst>
              <a:ext uri="{FF2B5EF4-FFF2-40B4-BE49-F238E27FC236}">
                <a16:creationId xmlns:a16="http://schemas.microsoft.com/office/drawing/2014/main" id="{1024DA71-8CC8-4895-B6CF-429881B431AD}"/>
              </a:ext>
            </a:extLst>
          </p:cNvPr>
          <p:cNvSpPr>
            <a:spLocks noGrp="1"/>
          </p:cNvSpPr>
          <p:nvPr>
            <p:ph type="ftr" sz="quarter" idx="16"/>
          </p:nvPr>
        </p:nvSpPr>
        <p:spPr/>
        <p:txBody>
          <a:bodyPr/>
          <a:lstStyle/>
          <a:p>
            <a:r>
              <a:rPr lang="nl-NL"/>
              <a:t>Naam van de presentatie invullen via Invoegen - Koptekst en voettekst</a:t>
            </a:r>
          </a:p>
        </p:txBody>
      </p:sp>
    </p:spTree>
    <p:extLst>
      <p:ext uri="{BB962C8B-B14F-4D97-AF65-F5344CB8AC3E}">
        <p14:creationId xmlns:p14="http://schemas.microsoft.com/office/powerpoint/2010/main" val="438263160"/>
      </p:ext>
    </p:extLst>
  </p:cSld>
  <p:clrMapOvr>
    <a:masterClrMapping/>
  </p:clrMapOvr>
  <p:extLst>
    <p:ext uri="{DCECCB84-F9BA-43D5-87BE-67443E8EF086}">
      <p15:sldGuideLst xmlns:p15="http://schemas.microsoft.com/office/powerpoint/2012/main">
        <p15:guide id="1" pos="3001" userDrawn="1">
          <p15:clr>
            <a:srgbClr val="FBAE40"/>
          </p15:clr>
        </p15:guide>
        <p15:guide id="3" pos="340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fbeelding en Tekst liggend">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9549571F-A594-4859-96FE-BC03CF8CE442}"/>
              </a:ext>
            </a:extLst>
          </p:cNvPr>
          <p:cNvSpPr>
            <a:spLocks noGrp="1"/>
          </p:cNvSpPr>
          <p:nvPr>
            <p:ph type="pic" sz="quarter" idx="14" hasCustomPrompt="1"/>
          </p:nvPr>
        </p:nvSpPr>
        <p:spPr>
          <a:xfrm>
            <a:off x="0" y="0"/>
            <a:ext cx="12192000" cy="2432050"/>
          </a:xfrm>
          <a:custGeom>
            <a:avLst/>
            <a:gdLst>
              <a:gd name="connsiteX0" fmla="*/ 0 w 12192000"/>
              <a:gd name="connsiteY0" fmla="*/ 0 h 2432050"/>
              <a:gd name="connsiteX1" fmla="*/ 8487125 w 12192000"/>
              <a:gd name="connsiteY1" fmla="*/ 0 h 2432050"/>
              <a:gd name="connsiteX2" fmla="*/ 10530208 w 12192000"/>
              <a:gd name="connsiteY2" fmla="*/ 709753 h 2432050"/>
              <a:gd name="connsiteX3" fmla="*/ 11337273 w 12192000"/>
              <a:gd name="connsiteY3" fmla="*/ 709753 h 2432050"/>
              <a:gd name="connsiteX4" fmla="*/ 11658193 w 12192000"/>
              <a:gd name="connsiteY4" fmla="*/ 773695 h 2432050"/>
              <a:gd name="connsiteX5" fmla="*/ 12192000 w 12192000"/>
              <a:gd name="connsiteY5" fmla="*/ 1470660 h 2432050"/>
              <a:gd name="connsiteX6" fmla="*/ 12192000 w 12192000"/>
              <a:gd name="connsiteY6" fmla="*/ 2432050 h 2432050"/>
              <a:gd name="connsiteX7" fmla="*/ 0 w 12192000"/>
              <a:gd name="connsiteY7" fmla="*/ 2432050 h 24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2432050">
                <a:moveTo>
                  <a:pt x="0" y="0"/>
                </a:moveTo>
                <a:lnTo>
                  <a:pt x="8487125" y="0"/>
                </a:lnTo>
                <a:cubicBezTo>
                  <a:pt x="9062238" y="428410"/>
                  <a:pt x="9767626" y="690571"/>
                  <a:pt x="10530208" y="709753"/>
                </a:cubicBezTo>
                <a:lnTo>
                  <a:pt x="11337273" y="709753"/>
                </a:lnTo>
                <a:cubicBezTo>
                  <a:pt x="11448483" y="709753"/>
                  <a:pt x="11556516" y="732133"/>
                  <a:pt x="11658193" y="773695"/>
                </a:cubicBezTo>
                <a:cubicBezTo>
                  <a:pt x="11944161" y="888790"/>
                  <a:pt x="12153871" y="1154149"/>
                  <a:pt x="12192000" y="1470660"/>
                </a:cubicBezTo>
                <a:lnTo>
                  <a:pt x="12192000" y="2432050"/>
                </a:lnTo>
                <a:lnTo>
                  <a:pt x="0" y="2432050"/>
                </a:lnTo>
                <a:close/>
              </a:path>
            </a:pathLst>
          </a:custGeom>
          <a:solidFill>
            <a:srgbClr val="F2F2F2"/>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a:xfrm>
            <a:off x="6132513" y="2781300"/>
            <a:ext cx="5003799" cy="3527425"/>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jdelijke aanduiding voor voettekst 1">
            <a:extLst>
              <a:ext uri="{FF2B5EF4-FFF2-40B4-BE49-F238E27FC236}">
                <a16:creationId xmlns:a16="http://schemas.microsoft.com/office/drawing/2014/main" id="{777C97E1-914A-4C58-8E40-B623D3782C82}"/>
              </a:ext>
            </a:extLst>
          </p:cNvPr>
          <p:cNvSpPr>
            <a:spLocks noGrp="1"/>
          </p:cNvSpPr>
          <p:nvPr>
            <p:ph type="ftr" sz="quarter" idx="15"/>
          </p:nvPr>
        </p:nvSpPr>
        <p:spPr/>
        <p:txBody>
          <a:bodyPr/>
          <a:lstStyle/>
          <a:p>
            <a:r>
              <a:rPr lang="nl-NL"/>
              <a:t>Naam van de presentatie invullen via Invoegen - Koptekst en voettekst</a:t>
            </a:r>
          </a:p>
        </p:txBody>
      </p:sp>
      <p:sp>
        <p:nvSpPr>
          <p:cNvPr id="15" name="Freeform 5">
            <a:extLst>
              <a:ext uri="{FF2B5EF4-FFF2-40B4-BE49-F238E27FC236}">
                <a16:creationId xmlns:a16="http://schemas.microsoft.com/office/drawing/2014/main" id="{5AEF411F-1EF5-4CC4-B09D-E3F3CF7B523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4" name="Titel 3">
            <a:extLst>
              <a:ext uri="{FF2B5EF4-FFF2-40B4-BE49-F238E27FC236}">
                <a16:creationId xmlns:a16="http://schemas.microsoft.com/office/drawing/2014/main" id="{681FC9BC-B5AF-4DDF-8AD9-B04EB7E9EECF}"/>
              </a:ext>
            </a:extLst>
          </p:cNvPr>
          <p:cNvSpPr>
            <a:spLocks noGrp="1"/>
          </p:cNvSpPr>
          <p:nvPr>
            <p:ph type="title" hasCustomPrompt="1"/>
          </p:nvPr>
        </p:nvSpPr>
        <p:spPr>
          <a:xfrm>
            <a:off x="1055688" y="2800350"/>
            <a:ext cx="4645025" cy="443198"/>
          </a:xfrm>
        </p:spPr>
        <p:txBody>
          <a:bodyPr/>
          <a:lstStyle>
            <a:lvl1pPr>
              <a:defRPr/>
            </a:lvl1pPr>
          </a:lstStyle>
          <a:p>
            <a:r>
              <a:rPr lang="nl-NL" dirty="0"/>
              <a:t>Titel van de dia</a:t>
            </a:r>
          </a:p>
        </p:txBody>
      </p:sp>
    </p:spTree>
    <p:extLst>
      <p:ext uri="{BB962C8B-B14F-4D97-AF65-F5344CB8AC3E}">
        <p14:creationId xmlns:p14="http://schemas.microsoft.com/office/powerpoint/2010/main" val="61526756"/>
      </p:ext>
    </p:extLst>
  </p:cSld>
  <p:clrMapOvr>
    <a:masterClrMapping/>
  </p:clrMapOvr>
  <p:extLst>
    <p:ext uri="{DCECCB84-F9BA-43D5-87BE-67443E8EF086}">
      <p15:sldGuideLst xmlns:p15="http://schemas.microsoft.com/office/powerpoint/2012/main">
        <p15:guide id="1" orient="horz" pos="1752" userDrawn="1">
          <p15:clr>
            <a:srgbClr val="FBAE40"/>
          </p15:clr>
        </p15:guide>
        <p15:guide id="2" pos="3591" userDrawn="1">
          <p15:clr>
            <a:srgbClr val="FBAE40"/>
          </p15:clr>
        </p15:guide>
        <p15:guide id="3" pos="386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Rood">
    <p:bg>
      <p:bgPr>
        <a:solidFill>
          <a:schemeClr val="accent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91C7402B-7C80-4F19-8824-D791E2012BD1}"/>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sp>
        <p:nvSpPr>
          <p:cNvPr id="16" name="Freeform 5">
            <a:extLst>
              <a:ext uri="{FF2B5EF4-FFF2-40B4-BE49-F238E27FC236}">
                <a16:creationId xmlns:a16="http://schemas.microsoft.com/office/drawing/2014/main" id="{90AD730B-F8E9-412E-B814-76C8908D8E41}"/>
              </a:ext>
            </a:extLst>
          </p:cNvPr>
          <p:cNvSpPr>
            <a:spLocks/>
          </p:cNvSpPr>
          <p:nvPr userDrawn="1"/>
        </p:nvSpPr>
        <p:spPr bwMode="auto">
          <a:xfrm>
            <a:off x="7046665" y="-1"/>
            <a:ext cx="5145335" cy="3966413"/>
          </a:xfrm>
          <a:custGeom>
            <a:avLst/>
            <a:gdLst>
              <a:gd name="T0" fmla="*/ 1098 w 1620"/>
              <a:gd name="T1" fmla="*/ 1012 h 1245"/>
              <a:gd name="T2" fmla="*/ 1352 w 1620"/>
              <a:gd name="T3" fmla="*/ 1012 h 1245"/>
              <a:gd name="T4" fmla="*/ 1452 w 1620"/>
              <a:gd name="T5" fmla="*/ 1032 h 1245"/>
              <a:gd name="T6" fmla="*/ 1620 w 1620"/>
              <a:gd name="T7" fmla="*/ 1245 h 1245"/>
              <a:gd name="T8" fmla="*/ 1620 w 1620"/>
              <a:gd name="T9" fmla="*/ 239 h 1245"/>
              <a:gd name="T10" fmla="*/ 1554 w 1620"/>
              <a:gd name="T11" fmla="*/ 379 h 1245"/>
              <a:gd name="T12" fmla="*/ 1519 w 1620"/>
              <a:gd name="T13" fmla="*/ 412 h 1245"/>
              <a:gd name="T14" fmla="*/ 1507 w 1620"/>
              <a:gd name="T15" fmla="*/ 420 h 1245"/>
              <a:gd name="T16" fmla="*/ 1352 w 1620"/>
              <a:gd name="T17" fmla="*/ 469 h 1245"/>
              <a:gd name="T18" fmla="*/ 1312 w 1620"/>
              <a:gd name="T19" fmla="*/ 469 h 1245"/>
              <a:gd name="T20" fmla="*/ 1248 w 1620"/>
              <a:gd name="T21" fmla="*/ 469 h 1245"/>
              <a:gd name="T22" fmla="*/ 558 w 1620"/>
              <a:gd name="T23" fmla="*/ 0 h 1245"/>
              <a:gd name="T24" fmla="*/ 0 w 1620"/>
              <a:gd name="T25" fmla="*/ 0 h 1245"/>
              <a:gd name="T26" fmla="*/ 1098 w 1620"/>
              <a:gd name="T27" fmla="*/ 1012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0" h="1245">
                <a:moveTo>
                  <a:pt x="1098" y="1012"/>
                </a:moveTo>
                <a:cubicBezTo>
                  <a:pt x="1352" y="1012"/>
                  <a:pt x="1352" y="1012"/>
                  <a:pt x="1352" y="1012"/>
                </a:cubicBezTo>
                <a:cubicBezTo>
                  <a:pt x="1387" y="1012"/>
                  <a:pt x="1421" y="1019"/>
                  <a:pt x="1452" y="1032"/>
                </a:cubicBezTo>
                <a:cubicBezTo>
                  <a:pt x="1541" y="1067"/>
                  <a:pt x="1606" y="1148"/>
                  <a:pt x="1620" y="1245"/>
                </a:cubicBezTo>
                <a:cubicBezTo>
                  <a:pt x="1620" y="239"/>
                  <a:pt x="1620" y="239"/>
                  <a:pt x="1620" y="239"/>
                </a:cubicBezTo>
                <a:cubicBezTo>
                  <a:pt x="1612" y="292"/>
                  <a:pt x="1588" y="341"/>
                  <a:pt x="1554" y="379"/>
                </a:cubicBezTo>
                <a:cubicBezTo>
                  <a:pt x="1543" y="391"/>
                  <a:pt x="1531" y="402"/>
                  <a:pt x="1519" y="412"/>
                </a:cubicBezTo>
                <a:cubicBezTo>
                  <a:pt x="1515" y="415"/>
                  <a:pt x="1511" y="418"/>
                  <a:pt x="1507" y="420"/>
                </a:cubicBezTo>
                <a:cubicBezTo>
                  <a:pt x="1463" y="451"/>
                  <a:pt x="1410" y="469"/>
                  <a:pt x="1352" y="469"/>
                </a:cubicBezTo>
                <a:cubicBezTo>
                  <a:pt x="1312" y="469"/>
                  <a:pt x="1312" y="469"/>
                  <a:pt x="1312" y="469"/>
                </a:cubicBezTo>
                <a:cubicBezTo>
                  <a:pt x="1248" y="469"/>
                  <a:pt x="1248" y="469"/>
                  <a:pt x="1248" y="469"/>
                </a:cubicBezTo>
                <a:cubicBezTo>
                  <a:pt x="828" y="469"/>
                  <a:pt x="621" y="312"/>
                  <a:pt x="558" y="0"/>
                </a:cubicBezTo>
                <a:cubicBezTo>
                  <a:pt x="0" y="0"/>
                  <a:pt x="0" y="0"/>
                  <a:pt x="0" y="0"/>
                </a:cubicBezTo>
                <a:cubicBezTo>
                  <a:pt x="61" y="558"/>
                  <a:pt x="528" y="997"/>
                  <a:pt x="1098" y="101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bg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pic>
        <p:nvPicPr>
          <p:cNvPr id="6" name="Afbeelding 5">
            <a:extLst>
              <a:ext uri="{FF2B5EF4-FFF2-40B4-BE49-F238E27FC236}">
                <a16:creationId xmlns:a16="http://schemas.microsoft.com/office/drawing/2014/main" id="{E0EB47D0-D664-439E-9A64-7C1DF1DC2AC3}"/>
              </a:ext>
            </a:extLst>
          </p:cNvPr>
          <p:cNvPicPr>
            <a:picLocks noChangeAspect="1"/>
          </p:cNvPicPr>
          <p:nvPr userDrawn="1"/>
        </p:nvPicPr>
        <p:blipFill>
          <a:blip r:embed="rId2"/>
          <a:stretch>
            <a:fillRect/>
          </a:stretch>
        </p:blipFill>
        <p:spPr>
          <a:xfrm>
            <a:off x="1055688" y="5768724"/>
            <a:ext cx="3118069" cy="540000"/>
          </a:xfrm>
          <a:prstGeom prst="rect">
            <a:avLst/>
          </a:prstGeom>
        </p:spPr>
      </p:pic>
      <p:pic>
        <p:nvPicPr>
          <p:cNvPr id="7" name="Afbeelding 6">
            <a:extLst>
              <a:ext uri="{FF2B5EF4-FFF2-40B4-BE49-F238E27FC236}">
                <a16:creationId xmlns:a16="http://schemas.microsoft.com/office/drawing/2014/main" id="{1E6E0A76-659B-4CFA-B0B6-A3F6EBBDCE45}"/>
              </a:ext>
            </a:extLst>
          </p:cNvPr>
          <p:cNvPicPr>
            <a:picLocks noChangeAspect="1"/>
          </p:cNvPicPr>
          <p:nvPr userDrawn="1"/>
        </p:nvPicPr>
        <p:blipFill>
          <a:blip r:embed="rId3"/>
          <a:stretch>
            <a:fillRect/>
          </a:stretch>
        </p:blipFill>
        <p:spPr>
          <a:xfrm>
            <a:off x="8705717" y="5931578"/>
            <a:ext cx="2430596" cy="270000"/>
          </a:xfrm>
          <a:prstGeom prst="rect">
            <a:avLst/>
          </a:prstGeom>
        </p:spPr>
      </p:pic>
    </p:spTree>
    <p:extLst>
      <p:ext uri="{BB962C8B-B14F-4D97-AF65-F5344CB8AC3E}">
        <p14:creationId xmlns:p14="http://schemas.microsoft.com/office/powerpoint/2010/main" val="9872815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liggend">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4A755BAE-8922-46B2-9339-6B15B57BF0DC}"/>
              </a:ext>
            </a:extLst>
          </p:cNvPr>
          <p:cNvSpPr>
            <a:spLocks noGrp="1"/>
          </p:cNvSpPr>
          <p:nvPr>
            <p:ph type="pic" sz="quarter" idx="14" hasCustomPrompt="1"/>
          </p:nvPr>
        </p:nvSpPr>
        <p:spPr>
          <a:xfrm>
            <a:off x="0" y="4425950"/>
            <a:ext cx="12192000" cy="2432050"/>
          </a:xfrm>
          <a:custGeom>
            <a:avLst/>
            <a:gdLst>
              <a:gd name="connsiteX0" fmla="*/ 0 w 12192000"/>
              <a:gd name="connsiteY0" fmla="*/ 0 h 2432050"/>
              <a:gd name="connsiteX1" fmla="*/ 12192000 w 12192000"/>
              <a:gd name="connsiteY1" fmla="*/ 0 h 2432050"/>
              <a:gd name="connsiteX2" fmla="*/ 12192000 w 12192000"/>
              <a:gd name="connsiteY2" fmla="*/ 28575 h 2432050"/>
              <a:gd name="connsiteX3" fmla="*/ 11769725 w 12192000"/>
              <a:gd name="connsiteY3" fmla="*/ 449738 h 2432050"/>
              <a:gd name="connsiteX4" fmla="*/ 11763375 w 12192000"/>
              <a:gd name="connsiteY4" fmla="*/ 456071 h 2432050"/>
              <a:gd name="connsiteX5" fmla="*/ 11258550 w 12192000"/>
              <a:gd name="connsiteY5" fmla="*/ 2432050 h 2432050"/>
              <a:gd name="connsiteX6" fmla="*/ 0 w 12192000"/>
              <a:gd name="connsiteY6" fmla="*/ 2432050 h 24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432050">
                <a:moveTo>
                  <a:pt x="0" y="0"/>
                </a:moveTo>
                <a:lnTo>
                  <a:pt x="12192000" y="0"/>
                </a:lnTo>
                <a:lnTo>
                  <a:pt x="12192000" y="28575"/>
                </a:lnTo>
                <a:cubicBezTo>
                  <a:pt x="11769725" y="449738"/>
                  <a:pt x="11769725" y="449738"/>
                  <a:pt x="11769725" y="449738"/>
                </a:cubicBezTo>
                <a:cubicBezTo>
                  <a:pt x="11766550" y="452904"/>
                  <a:pt x="11766550" y="452904"/>
                  <a:pt x="11763375" y="456071"/>
                </a:cubicBezTo>
                <a:cubicBezTo>
                  <a:pt x="11245850" y="997565"/>
                  <a:pt x="11077575" y="1751224"/>
                  <a:pt x="11258550" y="2432050"/>
                </a:cubicBezTo>
                <a:lnTo>
                  <a:pt x="0" y="243205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2" name="Titel 1">
            <a:extLst>
              <a:ext uri="{FF2B5EF4-FFF2-40B4-BE49-F238E27FC236}">
                <a16:creationId xmlns:a16="http://schemas.microsoft.com/office/drawing/2014/main" id="{5AD79F98-9D52-43AE-B2ED-66B2BF20CDB6}"/>
              </a:ext>
            </a:extLst>
          </p:cNvPr>
          <p:cNvSpPr>
            <a:spLocks noGrp="1"/>
          </p:cNvSpPr>
          <p:nvPr>
            <p:ph type="title" hasCustomPrompt="1"/>
          </p:nvPr>
        </p:nvSpPr>
        <p:spPr>
          <a:xfrm>
            <a:off x="1055688" y="501650"/>
            <a:ext cx="4645025" cy="443198"/>
          </a:xfrm>
        </p:spPr>
        <p:txBody>
          <a:bodyPr/>
          <a:lstStyle>
            <a:lvl1pPr>
              <a:defRPr/>
            </a:lvl1pPr>
          </a:lstStyle>
          <a:p>
            <a:r>
              <a:rPr lang="nl-NL" dirty="0"/>
              <a:t>Titel van de dia</a:t>
            </a:r>
          </a:p>
        </p:txBody>
      </p:sp>
      <p:sp>
        <p:nvSpPr>
          <p:cNvPr id="7" name="Tijdelijke aanduiding voor tekst 11">
            <a:extLst>
              <a:ext uri="{FF2B5EF4-FFF2-40B4-BE49-F238E27FC236}">
                <a16:creationId xmlns:a16="http://schemas.microsoft.com/office/drawing/2014/main" id="{7FDBBE08-550A-4BBC-9837-91FC99AF3271}"/>
              </a:ext>
            </a:extLst>
          </p:cNvPr>
          <p:cNvSpPr>
            <a:spLocks noGrp="1"/>
          </p:cNvSpPr>
          <p:nvPr>
            <p:ph type="body" sz="quarter" idx="13" hasCustomPrompt="1"/>
          </p:nvPr>
        </p:nvSpPr>
        <p:spPr>
          <a:xfrm>
            <a:off x="6132513" y="501650"/>
            <a:ext cx="5003799" cy="3527425"/>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4211747659"/>
      </p:ext>
    </p:extLst>
  </p:cSld>
  <p:clrMapOvr>
    <a:masterClrMapping/>
  </p:clrMapOvr>
  <p:extLst>
    <p:ext uri="{DCECCB84-F9BA-43D5-87BE-67443E8EF086}">
      <p15:sldGuideLst xmlns:p15="http://schemas.microsoft.com/office/powerpoint/2012/main">
        <p15:guide id="1" orient="horz" pos="2546" userDrawn="1">
          <p15:clr>
            <a:srgbClr val="FBAE40"/>
          </p15:clr>
        </p15:guide>
        <p15:guide id="2" orient="horz" pos="300" userDrawn="1">
          <p15:clr>
            <a:srgbClr val="FBAE40"/>
          </p15:clr>
        </p15:guide>
        <p15:guide id="3" pos="3863" userDrawn="1">
          <p15:clr>
            <a:srgbClr val="FBAE40"/>
          </p15:clr>
        </p15:guide>
        <p15:guide id="4" pos="359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kst en Rand afbeelding">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8EB6399D-904D-4992-AC1D-EF6BB6078759}"/>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066800 h 6858000"/>
              <a:gd name="connsiteX3" fmla="*/ 939801 w 12192000"/>
              <a:gd name="connsiteY3" fmla="*/ 1066800 h 6858000"/>
              <a:gd name="connsiteX4" fmla="*/ 790575 w 12192000"/>
              <a:gd name="connsiteY4" fmla="*/ 1216026 h 6858000"/>
              <a:gd name="connsiteX5" fmla="*/ 790575 w 12192000"/>
              <a:gd name="connsiteY5" fmla="*/ 5756274 h 6858000"/>
              <a:gd name="connsiteX6" fmla="*/ 939801 w 12192000"/>
              <a:gd name="connsiteY6" fmla="*/ 5905500 h 6858000"/>
              <a:gd name="connsiteX7" fmla="*/ 12192000 w 12192000"/>
              <a:gd name="connsiteY7" fmla="*/ 5905500 h 6858000"/>
              <a:gd name="connsiteX8" fmla="*/ 12192000 w 12192000"/>
              <a:gd name="connsiteY8" fmla="*/ 6858000 h 6858000"/>
              <a:gd name="connsiteX9" fmla="*/ 0 w 12192000"/>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1066800"/>
                </a:lnTo>
                <a:lnTo>
                  <a:pt x="939801" y="1066800"/>
                </a:lnTo>
                <a:cubicBezTo>
                  <a:pt x="857386" y="1066800"/>
                  <a:pt x="790575" y="1133611"/>
                  <a:pt x="790575" y="1216026"/>
                </a:cubicBezTo>
                <a:lnTo>
                  <a:pt x="790575" y="5756274"/>
                </a:lnTo>
                <a:cubicBezTo>
                  <a:pt x="790575" y="5838689"/>
                  <a:pt x="857386" y="5905500"/>
                  <a:pt x="939801" y="5905500"/>
                </a:cubicBezTo>
                <a:lnTo>
                  <a:pt x="12192000" y="5905500"/>
                </a:lnTo>
                <a:lnTo>
                  <a:pt x="12192000" y="6858000"/>
                </a:lnTo>
                <a:lnTo>
                  <a:pt x="0" y="6858000"/>
                </a:lnTo>
                <a:close/>
              </a:path>
            </a:pathLst>
          </a:custGeom>
          <a:solidFill>
            <a:schemeClr val="bg1">
              <a:lumMod val="95000"/>
              <a:alpha val="50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2" name="Titel 1">
            <a:extLst>
              <a:ext uri="{FF2B5EF4-FFF2-40B4-BE49-F238E27FC236}">
                <a16:creationId xmlns:a16="http://schemas.microsoft.com/office/drawing/2014/main" id="{70580FE4-F08D-41D2-9CB9-C3558EE85B7D}"/>
              </a:ext>
            </a:extLst>
          </p:cNvPr>
          <p:cNvSpPr>
            <a:spLocks noGrp="1"/>
          </p:cNvSpPr>
          <p:nvPr>
            <p:ph type="title" hasCustomPrompt="1"/>
          </p:nvPr>
        </p:nvSpPr>
        <p:spPr/>
        <p:txBody>
          <a:bodyPr/>
          <a:lstStyle>
            <a:lvl1pPr>
              <a:defRPr>
                <a:solidFill>
                  <a:schemeClr val="bg1"/>
                </a:solidFill>
              </a:defRPr>
            </a:lvl1pPr>
          </a:lstStyle>
          <a:p>
            <a:r>
              <a:rPr lang="nl-NL" dirty="0"/>
              <a:t>Titel van de dia</a:t>
            </a:r>
          </a:p>
        </p:txBody>
      </p:sp>
      <p:sp>
        <p:nvSpPr>
          <p:cNvPr id="7" name="Tijdelijke aanduiding voor tekst 9">
            <a:extLst>
              <a:ext uri="{FF2B5EF4-FFF2-40B4-BE49-F238E27FC236}">
                <a16:creationId xmlns:a16="http://schemas.microsoft.com/office/drawing/2014/main" id="{3EE371F0-9B79-4E0A-9300-03F7E433BF1B}"/>
              </a:ext>
            </a:extLst>
          </p:cNvPr>
          <p:cNvSpPr>
            <a:spLocks noGrp="1"/>
          </p:cNvSpPr>
          <p:nvPr>
            <p:ph type="body" sz="quarter" idx="12" hasCustomPrompt="1"/>
          </p:nvPr>
        </p:nvSpPr>
        <p:spPr>
          <a:xfrm>
            <a:off x="1055689" y="1196975"/>
            <a:ext cx="10080624" cy="1461810"/>
          </a:xfrm>
        </p:spPr>
        <p:txBody>
          <a:bodyPr>
            <a:spAutoFit/>
          </a:bodyPr>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p:txBody>
      </p:sp>
    </p:spTree>
    <p:extLst>
      <p:ext uri="{BB962C8B-B14F-4D97-AF65-F5344CB8AC3E}">
        <p14:creationId xmlns:p14="http://schemas.microsoft.com/office/powerpoint/2010/main" val="3518378652"/>
      </p:ext>
    </p:extLst>
  </p:cSld>
  <p:clrMapOvr>
    <a:masterClrMapping/>
  </p:clrMapOvr>
  <p:extLst>
    <p:ext uri="{DCECCB84-F9BA-43D5-87BE-67443E8EF086}">
      <p15:sldGuideLst xmlns:p15="http://schemas.microsoft.com/office/powerpoint/2012/main">
        <p15:guide id="1" orient="horz" pos="363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am slide 2">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3696324"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dirty="0"/>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3696324"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3696324"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3696324"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30" name="Tijdelijke aanduiding voor tekst 11">
            <a:extLst>
              <a:ext uri="{FF2B5EF4-FFF2-40B4-BE49-F238E27FC236}">
                <a16:creationId xmlns:a16="http://schemas.microsoft.com/office/drawing/2014/main" id="{F767357F-BB4F-4BF2-8EB2-FFAA2809DEE3}"/>
              </a:ext>
            </a:extLst>
          </p:cNvPr>
          <p:cNvSpPr>
            <a:spLocks noGrp="1"/>
          </p:cNvSpPr>
          <p:nvPr>
            <p:ph type="body" sz="quarter" idx="13" hasCustomPrompt="1"/>
          </p:nvPr>
        </p:nvSpPr>
        <p:spPr>
          <a:xfrm>
            <a:off x="6342064" y="1958775"/>
            <a:ext cx="4794250" cy="4057650"/>
          </a:xfrm>
        </p:spPr>
        <p:txBody>
          <a:bodyPr numCol="1" spcCol="57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24338014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 slide 3">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5015838"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Ovaal 16">
            <a:extLst>
              <a:ext uri="{FF2B5EF4-FFF2-40B4-BE49-F238E27FC236}">
                <a16:creationId xmlns:a16="http://schemas.microsoft.com/office/drawing/2014/main" id="{53AC6CDD-1EC9-4B51-898B-DFA2E898F4D7}"/>
              </a:ext>
            </a:extLst>
          </p:cNvPr>
          <p:cNvSpPr/>
          <p:nvPr userDrawn="1"/>
        </p:nvSpPr>
        <p:spPr>
          <a:xfrm>
            <a:off x="8889354"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dirty="0"/>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501583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4" name="Tijdelijke aanduiding voor afbeelding 13">
            <a:extLst>
              <a:ext uri="{FF2B5EF4-FFF2-40B4-BE49-F238E27FC236}">
                <a16:creationId xmlns:a16="http://schemas.microsoft.com/office/drawing/2014/main" id="{F8FB6322-DBFB-4E07-8415-358AD1866C8D}"/>
              </a:ext>
            </a:extLst>
          </p:cNvPr>
          <p:cNvSpPr>
            <a:spLocks noGrp="1"/>
          </p:cNvSpPr>
          <p:nvPr>
            <p:ph type="pic" sz="quarter" idx="17" hasCustomPrompt="1"/>
          </p:nvPr>
        </p:nvSpPr>
        <p:spPr>
          <a:xfrm>
            <a:off x="8976313"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501583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501583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4" name="Tijdelijke aanduiding voor tekst 9">
            <a:extLst>
              <a:ext uri="{FF2B5EF4-FFF2-40B4-BE49-F238E27FC236}">
                <a16:creationId xmlns:a16="http://schemas.microsoft.com/office/drawing/2014/main" id="{7E7405AA-A16F-4B9A-A133-7A870F9D199F}"/>
              </a:ext>
            </a:extLst>
          </p:cNvPr>
          <p:cNvSpPr>
            <a:spLocks noGrp="1"/>
          </p:cNvSpPr>
          <p:nvPr>
            <p:ph type="body" sz="quarter" idx="23" hasCustomPrompt="1"/>
          </p:nvPr>
        </p:nvSpPr>
        <p:spPr>
          <a:xfrm>
            <a:off x="8976313"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5" name="Tijdelijke aanduiding voor tekst 9">
            <a:extLst>
              <a:ext uri="{FF2B5EF4-FFF2-40B4-BE49-F238E27FC236}">
                <a16:creationId xmlns:a16="http://schemas.microsoft.com/office/drawing/2014/main" id="{5F52A10C-B4A4-47B7-8AFA-F5FC92EF6A8C}"/>
              </a:ext>
            </a:extLst>
          </p:cNvPr>
          <p:cNvSpPr>
            <a:spLocks noGrp="1"/>
          </p:cNvSpPr>
          <p:nvPr>
            <p:ph type="body" sz="quarter" idx="24" hasCustomPrompt="1"/>
          </p:nvPr>
        </p:nvSpPr>
        <p:spPr>
          <a:xfrm>
            <a:off x="8976313"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Tree>
    <p:extLst>
      <p:ext uri="{BB962C8B-B14F-4D97-AF65-F5344CB8AC3E}">
        <p14:creationId xmlns:p14="http://schemas.microsoft.com/office/powerpoint/2010/main" val="33760139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 slide 4">
    <p:spTree>
      <p:nvGrpSpPr>
        <p:cNvPr id="1" name=""/>
        <p:cNvGrpSpPr/>
        <p:nvPr/>
      </p:nvGrpSpPr>
      <p:grpSpPr>
        <a:xfrm>
          <a:off x="0" y="0"/>
          <a:ext cx="0" cy="0"/>
          <a:chOff x="0" y="0"/>
          <a:chExt cx="0" cy="0"/>
        </a:xfrm>
      </p:grpSpPr>
      <p:sp>
        <p:nvSpPr>
          <p:cNvPr id="13" name="Ovaal 12">
            <a:extLst>
              <a:ext uri="{FF2B5EF4-FFF2-40B4-BE49-F238E27FC236}">
                <a16:creationId xmlns:a16="http://schemas.microsoft.com/office/drawing/2014/main" id="{90198105-9CDF-4155-BB36-D815283DD4D4}"/>
              </a:ext>
            </a:extLst>
          </p:cNvPr>
          <p:cNvSpPr/>
          <p:nvPr userDrawn="1"/>
        </p:nvSpPr>
        <p:spPr>
          <a:xfrm>
            <a:off x="3696324" y="1975207"/>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845E0559-57FF-4568-9699-5B068157B09C}"/>
              </a:ext>
            </a:extLst>
          </p:cNvPr>
          <p:cNvSpPr/>
          <p:nvPr userDrawn="1"/>
        </p:nvSpPr>
        <p:spPr>
          <a:xfrm>
            <a:off x="113823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Ovaal 16">
            <a:extLst>
              <a:ext uri="{FF2B5EF4-FFF2-40B4-BE49-F238E27FC236}">
                <a16:creationId xmlns:a16="http://schemas.microsoft.com/office/drawing/2014/main" id="{53AC6CDD-1EC9-4B51-898B-DFA2E898F4D7}"/>
              </a:ext>
            </a:extLst>
          </p:cNvPr>
          <p:cNvSpPr/>
          <p:nvPr userDrawn="1"/>
        </p:nvSpPr>
        <p:spPr>
          <a:xfrm>
            <a:off x="6248718" y="2057400"/>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Ovaal 17">
            <a:extLst>
              <a:ext uri="{FF2B5EF4-FFF2-40B4-BE49-F238E27FC236}">
                <a16:creationId xmlns:a16="http://schemas.microsoft.com/office/drawing/2014/main" id="{0FC3AF19-920B-4ED9-8261-3A1DD500A2BC}"/>
              </a:ext>
            </a:extLst>
          </p:cNvPr>
          <p:cNvSpPr/>
          <p:nvPr userDrawn="1"/>
        </p:nvSpPr>
        <p:spPr>
          <a:xfrm>
            <a:off x="8976313" y="2135912"/>
            <a:ext cx="2160000" cy="21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48715696-10F8-487E-ABA6-0D4C6CFDCFF7}"/>
              </a:ext>
            </a:extLst>
          </p:cNvPr>
          <p:cNvSpPr>
            <a:spLocks noGrp="1"/>
          </p:cNvSpPr>
          <p:nvPr>
            <p:ph type="title" hasCustomPrompt="1"/>
          </p:nvPr>
        </p:nvSpPr>
        <p:spPr>
          <a:xfrm>
            <a:off x="1055688" y="501650"/>
            <a:ext cx="8100000" cy="443198"/>
          </a:xfrm>
        </p:spPr>
        <p:txBody>
          <a:bodyPr/>
          <a:lstStyle>
            <a:lvl1pPr>
              <a:defRPr/>
            </a:lvl1pPr>
          </a:lstStyle>
          <a:p>
            <a:r>
              <a:rPr lang="nl-NL" dirty="0"/>
              <a:t>Titel van de dia</a:t>
            </a:r>
          </a:p>
        </p:txBody>
      </p:sp>
      <p:sp>
        <p:nvSpPr>
          <p:cNvPr id="3" name="Tijdelijke aanduiding voor voettekst 2">
            <a:extLst>
              <a:ext uri="{FF2B5EF4-FFF2-40B4-BE49-F238E27FC236}">
                <a16:creationId xmlns:a16="http://schemas.microsoft.com/office/drawing/2014/main" id="{3F06D51D-8C6D-4433-8140-C9532FE606D1}"/>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72E99B70-A6D3-45F1-BF30-9E7C3740C7DA}"/>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Freeform 5">
            <a:extLst>
              <a:ext uri="{FF2B5EF4-FFF2-40B4-BE49-F238E27FC236}">
                <a16:creationId xmlns:a16="http://schemas.microsoft.com/office/drawing/2014/main" id="{90BA86CE-A151-468B-85B0-AA748CA5DA93}"/>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Vrije vorm: vorm 6">
            <a:extLst>
              <a:ext uri="{FF2B5EF4-FFF2-40B4-BE49-F238E27FC236}">
                <a16:creationId xmlns:a16="http://schemas.microsoft.com/office/drawing/2014/main" id="{2A560224-6DBC-481F-92CB-985C988CC6D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afbeelding 9">
            <a:extLst>
              <a:ext uri="{FF2B5EF4-FFF2-40B4-BE49-F238E27FC236}">
                <a16:creationId xmlns:a16="http://schemas.microsoft.com/office/drawing/2014/main" id="{0EC92F67-51B9-4ED5-AC9D-DA4FC79F0448}"/>
              </a:ext>
            </a:extLst>
          </p:cNvPr>
          <p:cNvSpPr>
            <a:spLocks noGrp="1"/>
          </p:cNvSpPr>
          <p:nvPr>
            <p:ph type="pic" sz="quarter" idx="15" hasCustomPrompt="1"/>
          </p:nvPr>
        </p:nvSpPr>
        <p:spPr>
          <a:xfrm>
            <a:off x="1055688"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2" name="Tijdelijke aanduiding voor afbeelding 11">
            <a:extLst>
              <a:ext uri="{FF2B5EF4-FFF2-40B4-BE49-F238E27FC236}">
                <a16:creationId xmlns:a16="http://schemas.microsoft.com/office/drawing/2014/main" id="{AD8512DA-C38F-42EA-A0B3-A0836DBA604E}"/>
              </a:ext>
            </a:extLst>
          </p:cNvPr>
          <p:cNvSpPr>
            <a:spLocks noGrp="1"/>
          </p:cNvSpPr>
          <p:nvPr>
            <p:ph type="pic" sz="quarter" idx="16" hasCustomPrompt="1"/>
          </p:nvPr>
        </p:nvSpPr>
        <p:spPr>
          <a:xfrm>
            <a:off x="3696324"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4" name="Tijdelijke aanduiding voor afbeelding 13">
            <a:extLst>
              <a:ext uri="{FF2B5EF4-FFF2-40B4-BE49-F238E27FC236}">
                <a16:creationId xmlns:a16="http://schemas.microsoft.com/office/drawing/2014/main" id="{F8FB6322-DBFB-4E07-8415-358AD1866C8D}"/>
              </a:ext>
            </a:extLst>
          </p:cNvPr>
          <p:cNvSpPr>
            <a:spLocks noGrp="1"/>
          </p:cNvSpPr>
          <p:nvPr>
            <p:ph type="pic" sz="quarter" idx="17" hasCustomPrompt="1"/>
          </p:nvPr>
        </p:nvSpPr>
        <p:spPr>
          <a:xfrm>
            <a:off x="6335677"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5" name="Tijdelijke aanduiding voor afbeelding 14">
            <a:extLst>
              <a:ext uri="{FF2B5EF4-FFF2-40B4-BE49-F238E27FC236}">
                <a16:creationId xmlns:a16="http://schemas.microsoft.com/office/drawing/2014/main" id="{6C19936C-0858-4699-A1A6-4C5435D131BB}"/>
              </a:ext>
            </a:extLst>
          </p:cNvPr>
          <p:cNvSpPr>
            <a:spLocks noGrp="1"/>
          </p:cNvSpPr>
          <p:nvPr>
            <p:ph type="pic" sz="quarter" idx="18" hasCustomPrompt="1"/>
          </p:nvPr>
        </p:nvSpPr>
        <p:spPr>
          <a:xfrm>
            <a:off x="8976313" y="2057400"/>
            <a:ext cx="2160000" cy="216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1200"/>
            </a:lvl1pPr>
          </a:lstStyle>
          <a:p>
            <a:r>
              <a:rPr lang="nl-NL" dirty="0"/>
              <a:t>Klik icoon om afbeelding in te voegen</a:t>
            </a:r>
          </a:p>
        </p:txBody>
      </p:sp>
      <p:sp>
        <p:nvSpPr>
          <p:cNvPr id="19" name="Tijdelijke aanduiding voor tekst 9">
            <a:extLst>
              <a:ext uri="{FF2B5EF4-FFF2-40B4-BE49-F238E27FC236}">
                <a16:creationId xmlns:a16="http://schemas.microsoft.com/office/drawing/2014/main" id="{C8B15AE9-219E-4B0B-8F2E-52E003ED5051}"/>
              </a:ext>
            </a:extLst>
          </p:cNvPr>
          <p:cNvSpPr>
            <a:spLocks noGrp="1"/>
          </p:cNvSpPr>
          <p:nvPr>
            <p:ph type="body" sz="quarter" idx="19" hasCustomPrompt="1"/>
          </p:nvPr>
        </p:nvSpPr>
        <p:spPr>
          <a:xfrm>
            <a:off x="1055688"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0" name="Tijdelijke aanduiding voor tekst 9">
            <a:extLst>
              <a:ext uri="{FF2B5EF4-FFF2-40B4-BE49-F238E27FC236}">
                <a16:creationId xmlns:a16="http://schemas.microsoft.com/office/drawing/2014/main" id="{E215CBB1-7D25-4073-AD86-968F23230E5B}"/>
              </a:ext>
            </a:extLst>
          </p:cNvPr>
          <p:cNvSpPr>
            <a:spLocks noGrp="1"/>
          </p:cNvSpPr>
          <p:nvPr>
            <p:ph type="body" sz="quarter" idx="20" hasCustomPrompt="1"/>
          </p:nvPr>
        </p:nvSpPr>
        <p:spPr>
          <a:xfrm>
            <a:off x="1055688"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2" name="Tijdelijke aanduiding voor tekst 9">
            <a:extLst>
              <a:ext uri="{FF2B5EF4-FFF2-40B4-BE49-F238E27FC236}">
                <a16:creationId xmlns:a16="http://schemas.microsoft.com/office/drawing/2014/main" id="{5D2FCF33-91EB-4661-9917-7903B485BCB0}"/>
              </a:ext>
            </a:extLst>
          </p:cNvPr>
          <p:cNvSpPr>
            <a:spLocks noGrp="1"/>
          </p:cNvSpPr>
          <p:nvPr>
            <p:ph type="body" sz="quarter" idx="21" hasCustomPrompt="1"/>
          </p:nvPr>
        </p:nvSpPr>
        <p:spPr>
          <a:xfrm>
            <a:off x="3696324"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3" name="Tijdelijke aanduiding voor tekst 9">
            <a:extLst>
              <a:ext uri="{FF2B5EF4-FFF2-40B4-BE49-F238E27FC236}">
                <a16:creationId xmlns:a16="http://schemas.microsoft.com/office/drawing/2014/main" id="{B7DBB02B-2188-4EF6-916F-0EB9D21091BF}"/>
              </a:ext>
            </a:extLst>
          </p:cNvPr>
          <p:cNvSpPr>
            <a:spLocks noGrp="1"/>
          </p:cNvSpPr>
          <p:nvPr>
            <p:ph type="body" sz="quarter" idx="22" hasCustomPrompt="1"/>
          </p:nvPr>
        </p:nvSpPr>
        <p:spPr>
          <a:xfrm>
            <a:off x="3696324"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4" name="Tijdelijke aanduiding voor tekst 9">
            <a:extLst>
              <a:ext uri="{FF2B5EF4-FFF2-40B4-BE49-F238E27FC236}">
                <a16:creationId xmlns:a16="http://schemas.microsoft.com/office/drawing/2014/main" id="{7E7405AA-A16F-4B9A-A133-7A870F9D199F}"/>
              </a:ext>
            </a:extLst>
          </p:cNvPr>
          <p:cNvSpPr>
            <a:spLocks noGrp="1"/>
          </p:cNvSpPr>
          <p:nvPr>
            <p:ph type="body" sz="quarter" idx="23" hasCustomPrompt="1"/>
          </p:nvPr>
        </p:nvSpPr>
        <p:spPr>
          <a:xfrm>
            <a:off x="6335677"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5" name="Tijdelijke aanduiding voor tekst 9">
            <a:extLst>
              <a:ext uri="{FF2B5EF4-FFF2-40B4-BE49-F238E27FC236}">
                <a16:creationId xmlns:a16="http://schemas.microsoft.com/office/drawing/2014/main" id="{5F52A10C-B4A4-47B7-8AFA-F5FC92EF6A8C}"/>
              </a:ext>
            </a:extLst>
          </p:cNvPr>
          <p:cNvSpPr>
            <a:spLocks noGrp="1"/>
          </p:cNvSpPr>
          <p:nvPr>
            <p:ph type="body" sz="quarter" idx="24" hasCustomPrompt="1"/>
          </p:nvPr>
        </p:nvSpPr>
        <p:spPr>
          <a:xfrm>
            <a:off x="6335677"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
        <p:nvSpPr>
          <p:cNvPr id="26" name="Tijdelijke aanduiding voor tekst 9">
            <a:extLst>
              <a:ext uri="{FF2B5EF4-FFF2-40B4-BE49-F238E27FC236}">
                <a16:creationId xmlns:a16="http://schemas.microsoft.com/office/drawing/2014/main" id="{D125C87A-D40C-4602-810E-7BB66C0A0DC9}"/>
              </a:ext>
            </a:extLst>
          </p:cNvPr>
          <p:cNvSpPr>
            <a:spLocks noGrp="1"/>
          </p:cNvSpPr>
          <p:nvPr>
            <p:ph type="body" sz="quarter" idx="25" hasCustomPrompt="1"/>
          </p:nvPr>
        </p:nvSpPr>
        <p:spPr>
          <a:xfrm>
            <a:off x="8976313" y="4475800"/>
            <a:ext cx="2160000" cy="276999"/>
          </a:xfrm>
        </p:spPr>
        <p:txBody>
          <a:bodyPr>
            <a:normAutofit/>
          </a:bodyPr>
          <a:lstStyle>
            <a:lvl1pPr marL="0" indent="0" algn="ctr">
              <a:lnSpc>
                <a:spcPct val="90000"/>
              </a:lnSpc>
              <a:buFont typeface="Arial" panose="020B0604020202020204" pitchFamily="34" charset="0"/>
              <a:buNone/>
              <a:defRPr sz="2000" b="1">
                <a:solidFill>
                  <a:schemeClr val="accent1"/>
                </a:solidFill>
                <a:latin typeface="+mn-lt"/>
                <a:cs typeface="Segoe UI Semibold" panose="020B0702040204020203" pitchFamily="34" charset="0"/>
              </a:defRPr>
            </a:lvl1pPr>
          </a:lstStyle>
          <a:p>
            <a:pPr lvl="0"/>
            <a:r>
              <a:rPr lang="nl-NL" dirty="0"/>
              <a:t>Naam</a:t>
            </a:r>
          </a:p>
        </p:txBody>
      </p:sp>
      <p:sp>
        <p:nvSpPr>
          <p:cNvPr id="27" name="Tijdelijke aanduiding voor tekst 9">
            <a:extLst>
              <a:ext uri="{FF2B5EF4-FFF2-40B4-BE49-F238E27FC236}">
                <a16:creationId xmlns:a16="http://schemas.microsoft.com/office/drawing/2014/main" id="{98B6CE99-E4AB-41FA-984A-49CCFF623DE1}"/>
              </a:ext>
            </a:extLst>
          </p:cNvPr>
          <p:cNvSpPr>
            <a:spLocks noGrp="1"/>
          </p:cNvSpPr>
          <p:nvPr>
            <p:ph type="body" sz="quarter" idx="26" hasCustomPrompt="1"/>
          </p:nvPr>
        </p:nvSpPr>
        <p:spPr>
          <a:xfrm>
            <a:off x="8976313" y="4799650"/>
            <a:ext cx="2160000" cy="276999"/>
          </a:xfrm>
        </p:spPr>
        <p:txBody>
          <a:bodyPr>
            <a:spAutoFit/>
          </a:bodyPr>
          <a:lstStyle>
            <a:lvl1pPr marL="0" indent="0" algn="ctr">
              <a:lnSpc>
                <a:spcPct val="90000"/>
              </a:lnSpc>
              <a:buFont typeface="Arial" panose="020B0604020202020204" pitchFamily="34" charset="0"/>
              <a:buNone/>
              <a:defRPr sz="2000" b="0">
                <a:solidFill>
                  <a:schemeClr val="tx1"/>
                </a:solidFill>
                <a:latin typeface="+mn-lt"/>
                <a:cs typeface="Segoe UI Semibold" panose="020B0702040204020203" pitchFamily="34" charset="0"/>
              </a:defRPr>
            </a:lvl1pPr>
          </a:lstStyle>
          <a:p>
            <a:pPr lvl="0"/>
            <a:r>
              <a:rPr lang="nl-NL" dirty="0"/>
              <a:t>Functie</a:t>
            </a:r>
          </a:p>
        </p:txBody>
      </p:sp>
    </p:spTree>
    <p:extLst>
      <p:ext uri="{BB962C8B-B14F-4D97-AF65-F5344CB8AC3E}">
        <p14:creationId xmlns:p14="http://schemas.microsoft.com/office/powerpoint/2010/main" val="3311587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en Grafiek A">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D6224E5E-4542-418D-820A-CAEDD1864A53}"/>
              </a:ext>
            </a:extLst>
          </p:cNvPr>
          <p:cNvSpPr/>
          <p:nvPr userDrawn="1"/>
        </p:nvSpPr>
        <p:spPr>
          <a:xfrm>
            <a:off x="0" y="0"/>
            <a:ext cx="599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2" name="Titel 1">
            <a:extLst>
              <a:ext uri="{FF2B5EF4-FFF2-40B4-BE49-F238E27FC236}">
                <a16:creationId xmlns:a16="http://schemas.microsoft.com/office/drawing/2014/main" id="{F40694DE-C34A-494B-AF29-238FD7B0B211}"/>
              </a:ext>
            </a:extLst>
          </p:cNvPr>
          <p:cNvSpPr>
            <a:spLocks noGrp="1"/>
          </p:cNvSpPr>
          <p:nvPr>
            <p:ph type="title" hasCustomPrompt="1"/>
          </p:nvPr>
        </p:nvSpPr>
        <p:spPr>
          <a:xfrm>
            <a:off x="1055688" y="501650"/>
            <a:ext cx="4572000" cy="443198"/>
          </a:xfrm>
        </p:spPr>
        <p:txBody>
          <a:bodyPr/>
          <a:lstStyle>
            <a:lvl1pPr>
              <a:defRPr>
                <a:solidFill>
                  <a:schemeClr val="bg1"/>
                </a:solidFill>
              </a:defRPr>
            </a:lvl1pPr>
          </a:lstStyle>
          <a:p>
            <a:r>
              <a:rPr lang="nl-NL" dirty="0"/>
              <a:t>Titel van de dia</a:t>
            </a:r>
          </a:p>
        </p:txBody>
      </p:sp>
      <p:sp>
        <p:nvSpPr>
          <p:cNvPr id="6" name="Tijdelijke aanduiding voor tekst 11">
            <a:extLst>
              <a:ext uri="{FF2B5EF4-FFF2-40B4-BE49-F238E27FC236}">
                <a16:creationId xmlns:a16="http://schemas.microsoft.com/office/drawing/2014/main" id="{E13100C9-2D6A-4383-B329-70FE11EDCD0C}"/>
              </a:ext>
            </a:extLst>
          </p:cNvPr>
          <p:cNvSpPr>
            <a:spLocks noGrp="1"/>
          </p:cNvSpPr>
          <p:nvPr>
            <p:ph type="body" sz="quarter" idx="13" hasCustomPrompt="1"/>
          </p:nvPr>
        </p:nvSpPr>
        <p:spPr>
          <a:xfrm>
            <a:off x="1055688" y="1196975"/>
            <a:ext cx="4572000" cy="5111750"/>
          </a:xfrm>
        </p:spPr>
        <p:txBody>
          <a:bodyPr numCol="1" spcCol="57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jdelijke aanduiding voor grafiek 7">
            <a:extLst>
              <a:ext uri="{FF2B5EF4-FFF2-40B4-BE49-F238E27FC236}">
                <a16:creationId xmlns:a16="http://schemas.microsoft.com/office/drawing/2014/main" id="{7E7D8D88-3F28-4821-8CAC-D1750DA78113}"/>
              </a:ext>
            </a:extLst>
          </p:cNvPr>
          <p:cNvSpPr>
            <a:spLocks noGrp="1"/>
          </p:cNvSpPr>
          <p:nvPr>
            <p:ph type="chart" sz="quarter" idx="14" hasCustomPrompt="1"/>
          </p:nvPr>
        </p:nvSpPr>
        <p:spPr>
          <a:xfrm>
            <a:off x="6527800" y="1196975"/>
            <a:ext cx="4608513" cy="5111750"/>
          </a:xfrm>
        </p:spPr>
        <p:txBody>
          <a:bodyPr bIns="828000" anchor="ctr" anchorCtr="1">
            <a:normAutofit/>
          </a:bodyPr>
          <a:lstStyle>
            <a:lvl1pPr marL="0" indent="0" algn="ctr">
              <a:buFont typeface="Arial" panose="020B0604020202020204" pitchFamily="34" charset="0"/>
              <a:buNone/>
              <a:defRPr sz="2000"/>
            </a:lvl1pPr>
          </a:lstStyle>
          <a:p>
            <a:r>
              <a:rPr lang="nl-NL" dirty="0"/>
              <a:t>Klik icoon om grafiek in te voegen</a:t>
            </a:r>
          </a:p>
        </p:txBody>
      </p:sp>
    </p:spTree>
    <p:extLst>
      <p:ext uri="{BB962C8B-B14F-4D97-AF65-F5344CB8AC3E}">
        <p14:creationId xmlns:p14="http://schemas.microsoft.com/office/powerpoint/2010/main" val="1176188663"/>
      </p:ext>
    </p:extLst>
  </p:cSld>
  <p:clrMapOvr>
    <a:masterClrMapping/>
  </p:clrMapOvr>
  <p:extLst>
    <p:ext uri="{DCECCB84-F9BA-43D5-87BE-67443E8EF086}">
      <p15:sldGuideLst xmlns:p15="http://schemas.microsoft.com/office/powerpoint/2012/main">
        <p15:guide id="1" pos="4112"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en Grafiek B">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6" name="Tijdelijke aanduiding voor tekst 11">
            <a:extLst>
              <a:ext uri="{FF2B5EF4-FFF2-40B4-BE49-F238E27FC236}">
                <a16:creationId xmlns:a16="http://schemas.microsoft.com/office/drawing/2014/main" id="{E13100C9-2D6A-4383-B329-70FE11EDCD0C}"/>
              </a:ext>
            </a:extLst>
          </p:cNvPr>
          <p:cNvSpPr>
            <a:spLocks noGrp="1"/>
          </p:cNvSpPr>
          <p:nvPr>
            <p:ph type="body" sz="quarter" idx="13" hasCustomPrompt="1"/>
          </p:nvPr>
        </p:nvSpPr>
        <p:spPr>
          <a:xfrm>
            <a:off x="1055688" y="1196975"/>
            <a:ext cx="4572000" cy="5111750"/>
          </a:xfrm>
        </p:spPr>
        <p:txBody>
          <a:bodyPr numCol="1" spcCol="57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tel 4">
            <a:extLst>
              <a:ext uri="{FF2B5EF4-FFF2-40B4-BE49-F238E27FC236}">
                <a16:creationId xmlns:a16="http://schemas.microsoft.com/office/drawing/2014/main" id="{299283B4-AC4A-47E6-9C2C-B992FBC4F4A8}"/>
              </a:ext>
            </a:extLst>
          </p:cNvPr>
          <p:cNvSpPr>
            <a:spLocks noGrp="1"/>
          </p:cNvSpPr>
          <p:nvPr>
            <p:ph type="title" hasCustomPrompt="1"/>
          </p:nvPr>
        </p:nvSpPr>
        <p:spPr/>
        <p:txBody>
          <a:bodyPr/>
          <a:lstStyle>
            <a:lvl1pPr>
              <a:defRPr/>
            </a:lvl1pPr>
          </a:lstStyle>
          <a:p>
            <a:r>
              <a:rPr lang="nl-NL" dirty="0"/>
              <a:t>Titel van de dia</a:t>
            </a:r>
          </a:p>
        </p:txBody>
      </p:sp>
      <p:sp>
        <p:nvSpPr>
          <p:cNvPr id="11" name="Tijdelijke aanduiding voor tekst 11">
            <a:extLst>
              <a:ext uri="{FF2B5EF4-FFF2-40B4-BE49-F238E27FC236}">
                <a16:creationId xmlns:a16="http://schemas.microsoft.com/office/drawing/2014/main" id="{8B1AF6D1-6AAD-4F79-AD61-243394FD79E8}"/>
              </a:ext>
            </a:extLst>
          </p:cNvPr>
          <p:cNvSpPr>
            <a:spLocks noGrp="1"/>
          </p:cNvSpPr>
          <p:nvPr>
            <p:ph type="body" sz="quarter" idx="15" hasCustomPrompt="1"/>
          </p:nvPr>
        </p:nvSpPr>
        <p:spPr>
          <a:xfrm>
            <a:off x="6527800" y="6108670"/>
            <a:ext cx="4572000" cy="200055"/>
          </a:xfrm>
        </p:spPr>
        <p:txBody>
          <a:bodyPr numCol="2" spcCol="576000" anchor="b" anchorCtr="0">
            <a:spAutoFit/>
          </a:bodyPr>
          <a:lstStyle>
            <a:lvl1pPr marL="0" indent="0">
              <a:lnSpc>
                <a:spcPct val="100000"/>
              </a:lnSpc>
              <a:buFont typeface="Arial" panose="020B0604020202020204" pitchFamily="34" charset="0"/>
              <a:buNone/>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Titel grafiek</a:t>
            </a:r>
          </a:p>
        </p:txBody>
      </p:sp>
      <p:sp>
        <p:nvSpPr>
          <p:cNvPr id="12" name="Freeform 5">
            <a:extLst>
              <a:ext uri="{FF2B5EF4-FFF2-40B4-BE49-F238E27FC236}">
                <a16:creationId xmlns:a16="http://schemas.microsoft.com/office/drawing/2014/main" id="{AA6C71B1-0820-49D5-8BC2-1203B14FFCB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3" name="Tijdelijke aanduiding voor inhoud 6">
            <a:extLst>
              <a:ext uri="{FF2B5EF4-FFF2-40B4-BE49-F238E27FC236}">
                <a16:creationId xmlns:a16="http://schemas.microsoft.com/office/drawing/2014/main" id="{441A05E7-7B1F-492A-BF4E-34AA40C3CA1C}"/>
              </a:ext>
            </a:extLst>
          </p:cNvPr>
          <p:cNvSpPr>
            <a:spLocks noGrp="1"/>
          </p:cNvSpPr>
          <p:nvPr>
            <p:ph sz="quarter" idx="16" hasCustomPrompt="1"/>
          </p:nvPr>
        </p:nvSpPr>
        <p:spPr>
          <a:xfrm>
            <a:off x="6527800" y="1196975"/>
            <a:ext cx="4608513" cy="4787949"/>
          </a:xfrm>
        </p:spPr>
        <p:txBody>
          <a:bodyPr bIns="1440000" anchor="ctr" anchorCtr="1">
            <a:normAutofit/>
          </a:bodyPr>
          <a:lstStyle>
            <a:lvl1pPr marL="0" indent="0" algn="ctr">
              <a:buFont typeface="Arial" panose="020B0604020202020204" pitchFamily="34" charset="0"/>
              <a:buNone/>
              <a:defRPr sz="2000"/>
            </a:lvl1pPr>
          </a:lstStyle>
          <a:p>
            <a:pPr lvl="0"/>
            <a:r>
              <a:rPr lang="nl-NL" dirty="0"/>
              <a:t>Klik icoon om grafiek of tabel in te voegen</a:t>
            </a:r>
          </a:p>
        </p:txBody>
      </p:sp>
    </p:spTree>
    <p:extLst>
      <p:ext uri="{BB962C8B-B14F-4D97-AF65-F5344CB8AC3E}">
        <p14:creationId xmlns:p14="http://schemas.microsoft.com/office/powerpoint/2010/main" val="93014460"/>
      </p:ext>
    </p:extLst>
  </p:cSld>
  <p:clrMapOvr>
    <a:masterClrMapping/>
  </p:clrMapOvr>
  <p:extLst>
    <p:ext uri="{DCECCB84-F9BA-43D5-87BE-67443E8EF086}">
      <p15:sldGuideLst xmlns:p15="http://schemas.microsoft.com/office/powerpoint/2012/main">
        <p15:guide id="1" pos="4112">
          <p15:clr>
            <a:srgbClr val="FBAE40"/>
          </p15:clr>
        </p15:guide>
        <p15:guide id="2" pos="3545"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fiek of Tabel">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3653AB7D-5E1F-4928-9343-DEF40F6A0F15}"/>
              </a:ext>
            </a:extLst>
          </p:cNvPr>
          <p:cNvSpPr>
            <a:spLocks noGrp="1"/>
          </p:cNvSpPr>
          <p:nvPr>
            <p:ph type="ftr" sz="quarter" idx="10"/>
          </p:nvPr>
        </p:nvSpPr>
        <p:spPr/>
        <p:txBody>
          <a:bodyPr/>
          <a:lstStyle/>
          <a:p>
            <a:r>
              <a:rPr lang="nl-NL"/>
              <a:t>Naam van de presentatie invullen via Invoegen - Koptekst en voettekst</a:t>
            </a:r>
          </a:p>
        </p:txBody>
      </p:sp>
      <p:sp>
        <p:nvSpPr>
          <p:cNvPr id="4" name="Tijdelijke aanduiding voor dianummer 3">
            <a:extLst>
              <a:ext uri="{FF2B5EF4-FFF2-40B4-BE49-F238E27FC236}">
                <a16:creationId xmlns:a16="http://schemas.microsoft.com/office/drawing/2014/main" id="{AAEE9A62-9C1B-45DD-9E20-B238C7ED7B02}"/>
              </a:ext>
            </a:extLst>
          </p:cNvPr>
          <p:cNvSpPr>
            <a:spLocks noGrp="1"/>
          </p:cNvSpPr>
          <p:nvPr>
            <p:ph type="sldNum" sz="quarter" idx="11"/>
          </p:nvPr>
        </p:nvSpPr>
        <p:spPr/>
        <p:txBody>
          <a:bodyPr/>
          <a:lstStyle/>
          <a:p>
            <a:fld id="{72A15134-CD64-4197-891E-7C1F921F6B1C}" type="slidenum">
              <a:rPr lang="nl-NL" smtClean="0"/>
              <a:pPr/>
              <a:t>‹nr.›</a:t>
            </a:fld>
            <a:endParaRPr lang="nl-NL"/>
          </a:p>
        </p:txBody>
      </p:sp>
      <p:sp>
        <p:nvSpPr>
          <p:cNvPr id="5" name="Titel 4">
            <a:extLst>
              <a:ext uri="{FF2B5EF4-FFF2-40B4-BE49-F238E27FC236}">
                <a16:creationId xmlns:a16="http://schemas.microsoft.com/office/drawing/2014/main" id="{299283B4-AC4A-47E6-9C2C-B992FBC4F4A8}"/>
              </a:ext>
            </a:extLst>
          </p:cNvPr>
          <p:cNvSpPr>
            <a:spLocks noGrp="1"/>
          </p:cNvSpPr>
          <p:nvPr>
            <p:ph type="title" hasCustomPrompt="1"/>
          </p:nvPr>
        </p:nvSpPr>
        <p:spPr/>
        <p:txBody>
          <a:bodyPr/>
          <a:lstStyle>
            <a:lvl1pPr>
              <a:defRPr/>
            </a:lvl1pPr>
          </a:lstStyle>
          <a:p>
            <a:r>
              <a:rPr lang="nl-NL" dirty="0"/>
              <a:t>Titel van de dia</a:t>
            </a:r>
          </a:p>
        </p:txBody>
      </p:sp>
      <p:sp>
        <p:nvSpPr>
          <p:cNvPr id="11" name="Tijdelijke aanduiding voor tekst 11">
            <a:extLst>
              <a:ext uri="{FF2B5EF4-FFF2-40B4-BE49-F238E27FC236}">
                <a16:creationId xmlns:a16="http://schemas.microsoft.com/office/drawing/2014/main" id="{8B1AF6D1-6AAD-4F79-AD61-243394FD79E8}"/>
              </a:ext>
            </a:extLst>
          </p:cNvPr>
          <p:cNvSpPr>
            <a:spLocks noGrp="1"/>
          </p:cNvSpPr>
          <p:nvPr>
            <p:ph type="body" sz="quarter" idx="15" hasCustomPrompt="1"/>
          </p:nvPr>
        </p:nvSpPr>
        <p:spPr>
          <a:xfrm>
            <a:off x="1055689" y="6108670"/>
            <a:ext cx="10080624" cy="200055"/>
          </a:xfrm>
        </p:spPr>
        <p:txBody>
          <a:bodyPr wrap="square" numCol="2" spcCol="576000" anchor="b" anchorCtr="0">
            <a:spAutoFit/>
          </a:bodyPr>
          <a:lstStyle>
            <a:lvl1pPr marL="0" indent="0">
              <a:lnSpc>
                <a:spcPct val="100000"/>
              </a:lnSpc>
              <a:buFont typeface="Arial" panose="020B0604020202020204" pitchFamily="34" charset="0"/>
              <a:buNone/>
              <a:defRPr sz="13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Titel grafiek/tabel</a:t>
            </a:r>
          </a:p>
        </p:txBody>
      </p:sp>
      <p:sp>
        <p:nvSpPr>
          <p:cNvPr id="12" name="Freeform 5">
            <a:extLst>
              <a:ext uri="{FF2B5EF4-FFF2-40B4-BE49-F238E27FC236}">
                <a16:creationId xmlns:a16="http://schemas.microsoft.com/office/drawing/2014/main" id="{AA6C71B1-0820-49D5-8BC2-1203B14FFCB6}"/>
              </a:ext>
            </a:extLst>
          </p:cNvPr>
          <p:cNvSpPr>
            <a:spLocks/>
          </p:cNvSpPr>
          <p:nvPr userDrawn="1"/>
        </p:nvSpPr>
        <p:spPr bwMode="auto">
          <a:xfrm>
            <a:off x="0" y="6139040"/>
            <a:ext cx="1790700" cy="718960"/>
          </a:xfrm>
          <a:custGeom>
            <a:avLst/>
            <a:gdLst>
              <a:gd name="T0" fmla="*/ 561 w 561"/>
              <a:gd name="T1" fmla="*/ 223 h 223"/>
              <a:gd name="T2" fmla="*/ 232 w 561"/>
              <a:gd name="T3" fmla="*/ 94 h 223"/>
              <a:gd name="T4" fmla="*/ 120 w 561"/>
              <a:gd name="T5" fmla="*/ 94 h 223"/>
              <a:gd name="T6" fmla="*/ 74 w 561"/>
              <a:gd name="T7" fmla="*/ 86 h 223"/>
              <a:gd name="T8" fmla="*/ 0 w 561"/>
              <a:gd name="T9" fmla="*/ 0 h 223"/>
              <a:gd name="T10" fmla="*/ 0 w 561"/>
              <a:gd name="T11" fmla="*/ 223 h 223"/>
              <a:gd name="T12" fmla="*/ 561 w 561"/>
              <a:gd name="T13" fmla="*/ 223 h 223"/>
            </a:gdLst>
            <a:ahLst/>
            <a:cxnLst>
              <a:cxn ang="0">
                <a:pos x="T0" y="T1"/>
              </a:cxn>
              <a:cxn ang="0">
                <a:pos x="T2" y="T3"/>
              </a:cxn>
              <a:cxn ang="0">
                <a:pos x="T4" y="T5"/>
              </a:cxn>
              <a:cxn ang="0">
                <a:pos x="T6" y="T7"/>
              </a:cxn>
              <a:cxn ang="0">
                <a:pos x="T8" y="T9"/>
              </a:cxn>
              <a:cxn ang="0">
                <a:pos x="T10" y="T11"/>
              </a:cxn>
              <a:cxn ang="0">
                <a:pos x="T12" y="T13"/>
              </a:cxn>
            </a:cxnLst>
            <a:rect l="0" t="0" r="r" b="b"/>
            <a:pathLst>
              <a:path w="561" h="223">
                <a:moveTo>
                  <a:pt x="561" y="223"/>
                </a:moveTo>
                <a:cubicBezTo>
                  <a:pt x="472" y="145"/>
                  <a:pt x="358" y="97"/>
                  <a:pt x="232" y="94"/>
                </a:cubicBezTo>
                <a:cubicBezTo>
                  <a:pt x="120" y="94"/>
                  <a:pt x="120" y="94"/>
                  <a:pt x="120" y="94"/>
                </a:cubicBezTo>
                <a:cubicBezTo>
                  <a:pt x="104" y="94"/>
                  <a:pt x="88" y="91"/>
                  <a:pt x="74" y="86"/>
                </a:cubicBezTo>
                <a:cubicBezTo>
                  <a:pt x="37" y="71"/>
                  <a:pt x="9" y="39"/>
                  <a:pt x="0" y="0"/>
                </a:cubicBezTo>
                <a:cubicBezTo>
                  <a:pt x="0" y="223"/>
                  <a:pt x="0" y="223"/>
                  <a:pt x="0" y="223"/>
                </a:cubicBezTo>
                <a:lnTo>
                  <a:pt x="561" y="2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7" name="Tijdelijke aanduiding voor inhoud 6">
            <a:extLst>
              <a:ext uri="{FF2B5EF4-FFF2-40B4-BE49-F238E27FC236}">
                <a16:creationId xmlns:a16="http://schemas.microsoft.com/office/drawing/2014/main" id="{CA6721B6-FEF6-435D-96EE-63E150A6995E}"/>
              </a:ext>
            </a:extLst>
          </p:cNvPr>
          <p:cNvSpPr>
            <a:spLocks noGrp="1"/>
          </p:cNvSpPr>
          <p:nvPr>
            <p:ph sz="quarter" idx="16" hasCustomPrompt="1"/>
          </p:nvPr>
        </p:nvSpPr>
        <p:spPr>
          <a:xfrm>
            <a:off x="1055688" y="1196975"/>
            <a:ext cx="10080625" cy="4787949"/>
          </a:xfrm>
        </p:spPr>
        <p:txBody>
          <a:bodyPr bIns="1440000" anchor="ctr" anchorCtr="1">
            <a:normAutofit/>
          </a:bodyPr>
          <a:lstStyle>
            <a:lvl1pPr marL="0" indent="0">
              <a:buFont typeface="Arial" panose="020B0604020202020204" pitchFamily="34" charset="0"/>
              <a:buNone/>
              <a:defRPr sz="2000"/>
            </a:lvl1pPr>
          </a:lstStyle>
          <a:p>
            <a:pPr lvl="0"/>
            <a:r>
              <a:rPr lang="nl-NL" dirty="0"/>
              <a:t>Klik icoon om grafiek of tabel in te voegen</a:t>
            </a:r>
          </a:p>
        </p:txBody>
      </p:sp>
    </p:spTree>
    <p:extLst>
      <p:ext uri="{BB962C8B-B14F-4D97-AF65-F5344CB8AC3E}">
        <p14:creationId xmlns:p14="http://schemas.microsoft.com/office/powerpoint/2010/main" val="141480611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A">
    <p:bg>
      <p:bgPr>
        <a:solidFill>
          <a:schemeClr val="accent6"/>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sp>
        <p:nvSpPr>
          <p:cNvPr id="5" name="Freeform 5">
            <a:extLst>
              <a:ext uri="{FF2B5EF4-FFF2-40B4-BE49-F238E27FC236}">
                <a16:creationId xmlns:a16="http://schemas.microsoft.com/office/drawing/2014/main" id="{1A4C1BF7-F46D-42A8-8029-FE0FA1103353}"/>
              </a:ext>
            </a:extLst>
          </p:cNvPr>
          <p:cNvSpPr>
            <a:spLocks/>
          </p:cNvSpPr>
          <p:nvPr userDrawn="1"/>
        </p:nvSpPr>
        <p:spPr bwMode="auto">
          <a:xfrm>
            <a:off x="6431755" y="1"/>
            <a:ext cx="5760244" cy="2247900"/>
          </a:xfrm>
          <a:custGeom>
            <a:avLst/>
            <a:gdLst>
              <a:gd name="T0" fmla="*/ 0 w 1823"/>
              <a:gd name="T1" fmla="*/ 0 h 708"/>
              <a:gd name="T2" fmla="*/ 90 w 1823"/>
              <a:gd name="T3" fmla="*/ 163 h 708"/>
              <a:gd name="T4" fmla="*/ 568 w 1823"/>
              <a:gd name="T5" fmla="*/ 162 h 708"/>
              <a:gd name="T6" fmla="*/ 940 w 1823"/>
              <a:gd name="T7" fmla="*/ 91 h 708"/>
              <a:gd name="T8" fmla="*/ 1046 w 1823"/>
              <a:gd name="T9" fmla="*/ 163 h 708"/>
              <a:gd name="T10" fmla="*/ 1261 w 1823"/>
              <a:gd name="T11" fmla="*/ 377 h 708"/>
              <a:gd name="T12" fmla="*/ 1823 w 1823"/>
              <a:gd name="T13" fmla="*/ 708 h 708"/>
              <a:gd name="T14" fmla="*/ 1823 w 1823"/>
              <a:gd name="T15" fmla="*/ 0 h 708"/>
              <a:gd name="T16" fmla="*/ 0 w 1823"/>
              <a:gd name="T1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708">
                <a:moveTo>
                  <a:pt x="0" y="0"/>
                </a:moveTo>
                <a:cubicBezTo>
                  <a:pt x="14" y="60"/>
                  <a:pt x="44" y="116"/>
                  <a:pt x="90" y="163"/>
                </a:cubicBezTo>
                <a:cubicBezTo>
                  <a:pt x="223" y="295"/>
                  <a:pt x="436" y="295"/>
                  <a:pt x="568" y="162"/>
                </a:cubicBezTo>
                <a:cubicBezTo>
                  <a:pt x="669" y="62"/>
                  <a:pt x="817" y="38"/>
                  <a:pt x="940" y="91"/>
                </a:cubicBezTo>
                <a:cubicBezTo>
                  <a:pt x="979" y="107"/>
                  <a:pt x="1015" y="131"/>
                  <a:pt x="1046" y="163"/>
                </a:cubicBezTo>
                <a:cubicBezTo>
                  <a:pt x="1261" y="377"/>
                  <a:pt x="1261" y="377"/>
                  <a:pt x="1261" y="377"/>
                </a:cubicBezTo>
                <a:cubicBezTo>
                  <a:pt x="1425" y="535"/>
                  <a:pt x="1618" y="645"/>
                  <a:pt x="1823" y="708"/>
                </a:cubicBezTo>
                <a:cubicBezTo>
                  <a:pt x="1823" y="0"/>
                  <a:pt x="1823" y="0"/>
                  <a:pt x="1823"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3" name="Group 22">
            <a:extLst>
              <a:ext uri="{FF2B5EF4-FFF2-40B4-BE49-F238E27FC236}">
                <a16:creationId xmlns:a16="http://schemas.microsoft.com/office/drawing/2014/main" id="{C366F51A-F7BB-4984-9610-5F4DB687C895}"/>
              </a:ext>
            </a:extLst>
          </p:cNvPr>
          <p:cNvGrpSpPr/>
          <p:nvPr userDrawn="1"/>
        </p:nvGrpSpPr>
        <p:grpSpPr>
          <a:xfrm>
            <a:off x="-1949449" y="2241549"/>
            <a:ext cx="1835150" cy="3096587"/>
            <a:chOff x="-1949449" y="2241549"/>
            <a:chExt cx="1835150" cy="3096587"/>
          </a:xfrm>
        </p:grpSpPr>
        <p:sp>
          <p:nvSpPr>
            <p:cNvPr id="24" name="TextBox 1">
              <a:extLst>
                <a:ext uri="{FF2B5EF4-FFF2-40B4-BE49-F238E27FC236}">
                  <a16:creationId xmlns:a16="http://schemas.microsoft.com/office/drawing/2014/main" id="{C5546444-EF56-4D35-88FF-47C4A40778F8}"/>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5" name="Rechthoek 28">
              <a:extLst>
                <a:ext uri="{FF2B5EF4-FFF2-40B4-BE49-F238E27FC236}">
                  <a16:creationId xmlns:a16="http://schemas.microsoft.com/office/drawing/2014/main" id="{06A99677-5680-4EAC-AB49-BFCB047B0A65}"/>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hthoek 31">
              <a:extLst>
                <a:ext uri="{FF2B5EF4-FFF2-40B4-BE49-F238E27FC236}">
                  <a16:creationId xmlns:a16="http://schemas.microsoft.com/office/drawing/2014/main" id="{EE48D1BC-0ECC-4264-824D-3D072683CD3B}"/>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32">
              <a:extLst>
                <a:ext uri="{FF2B5EF4-FFF2-40B4-BE49-F238E27FC236}">
                  <a16:creationId xmlns:a16="http://schemas.microsoft.com/office/drawing/2014/main" id="{E2D02ADE-C465-46F0-807A-A4903A4A0F74}"/>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33">
              <a:extLst>
                <a:ext uri="{FF2B5EF4-FFF2-40B4-BE49-F238E27FC236}">
                  <a16:creationId xmlns:a16="http://schemas.microsoft.com/office/drawing/2014/main" id="{637218F7-2081-4EFA-A359-AF18E048B3D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4">
              <a:extLst>
                <a:ext uri="{FF2B5EF4-FFF2-40B4-BE49-F238E27FC236}">
                  <a16:creationId xmlns:a16="http://schemas.microsoft.com/office/drawing/2014/main" id="{6CA9952F-F17F-4349-8F31-045F174C8916}"/>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5">
              <a:extLst>
                <a:ext uri="{FF2B5EF4-FFF2-40B4-BE49-F238E27FC236}">
                  <a16:creationId xmlns:a16="http://schemas.microsoft.com/office/drawing/2014/main" id="{D3BACE14-88E2-4AF6-A8F4-D29009D3C4D6}"/>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6">
              <a:extLst>
                <a:ext uri="{FF2B5EF4-FFF2-40B4-BE49-F238E27FC236}">
                  <a16:creationId xmlns:a16="http://schemas.microsoft.com/office/drawing/2014/main" id="{F59A21A7-06C0-4459-B743-5C7CC40BF80B}"/>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7">
              <a:extLst>
                <a:ext uri="{FF2B5EF4-FFF2-40B4-BE49-F238E27FC236}">
                  <a16:creationId xmlns:a16="http://schemas.microsoft.com/office/drawing/2014/main" id="{0D00BD4A-B365-4BF7-843C-091C96E63EA6}"/>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8">
              <a:extLst>
                <a:ext uri="{FF2B5EF4-FFF2-40B4-BE49-F238E27FC236}">
                  <a16:creationId xmlns:a16="http://schemas.microsoft.com/office/drawing/2014/main" id="{3641365A-5231-4D76-8466-52A3F19471A2}"/>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9">
              <a:extLst>
                <a:ext uri="{FF2B5EF4-FFF2-40B4-BE49-F238E27FC236}">
                  <a16:creationId xmlns:a16="http://schemas.microsoft.com/office/drawing/2014/main" id="{C5189BBC-2BCF-429D-B383-4C55B70AEF65}"/>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40">
              <a:extLst>
                <a:ext uri="{FF2B5EF4-FFF2-40B4-BE49-F238E27FC236}">
                  <a16:creationId xmlns:a16="http://schemas.microsoft.com/office/drawing/2014/main" id="{A2612725-43A5-47A4-99E1-563459840C27}"/>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41">
              <a:extLst>
                <a:ext uri="{FF2B5EF4-FFF2-40B4-BE49-F238E27FC236}">
                  <a16:creationId xmlns:a16="http://schemas.microsoft.com/office/drawing/2014/main" id="{EABA6B74-F375-4EC7-90FE-043DA4BDB861}"/>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42">
              <a:extLst>
                <a:ext uri="{FF2B5EF4-FFF2-40B4-BE49-F238E27FC236}">
                  <a16:creationId xmlns:a16="http://schemas.microsoft.com/office/drawing/2014/main" id="{C3FB1187-DAF2-4614-926B-F09FDBB042E9}"/>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3">
              <a:extLst>
                <a:ext uri="{FF2B5EF4-FFF2-40B4-BE49-F238E27FC236}">
                  <a16:creationId xmlns:a16="http://schemas.microsoft.com/office/drawing/2014/main" id="{6977A7CB-F224-4507-8D49-C44B0A170460}"/>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4">
              <a:extLst>
                <a:ext uri="{FF2B5EF4-FFF2-40B4-BE49-F238E27FC236}">
                  <a16:creationId xmlns:a16="http://schemas.microsoft.com/office/drawing/2014/main" id="{4D15BDDD-B975-413F-90B0-FB16447DD5F1}"/>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5">
              <a:extLst>
                <a:ext uri="{FF2B5EF4-FFF2-40B4-BE49-F238E27FC236}">
                  <a16:creationId xmlns:a16="http://schemas.microsoft.com/office/drawing/2014/main" id="{B77C3080-1F09-41D9-B446-730D85C02AEA}"/>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5068919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B">
    <p:bg>
      <p:bgPr>
        <a:solidFill>
          <a:srgbClr val="617A6F"/>
        </a:solidFill>
        <a:effectLst/>
      </p:bgPr>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2F53F5D0-025F-4EBD-A890-C20160129242}"/>
              </a:ext>
            </a:extLst>
          </p:cNvPr>
          <p:cNvGrpSpPr/>
          <p:nvPr userDrawn="1"/>
        </p:nvGrpSpPr>
        <p:grpSpPr>
          <a:xfrm>
            <a:off x="0" y="5324832"/>
            <a:ext cx="6819900" cy="1533168"/>
            <a:chOff x="-3175" y="8162926"/>
            <a:chExt cx="7026276" cy="1579563"/>
          </a:xfrm>
        </p:grpSpPr>
        <p:sp>
          <p:nvSpPr>
            <p:cNvPr id="5" name="Freeform 5">
              <a:extLst>
                <a:ext uri="{FF2B5EF4-FFF2-40B4-BE49-F238E27FC236}">
                  <a16:creationId xmlns:a16="http://schemas.microsoft.com/office/drawing/2014/main" id="{0C0B4EE3-20AB-4049-BE58-A8C6E71F9EEA}"/>
                </a:ext>
              </a:extLst>
            </p:cNvPr>
            <p:cNvSpPr>
              <a:spLocks/>
            </p:cNvSpPr>
            <p:nvPr userDrawn="1"/>
          </p:nvSpPr>
          <p:spPr bwMode="auto">
            <a:xfrm>
              <a:off x="1989138" y="8162926"/>
              <a:ext cx="5033963" cy="1579563"/>
            </a:xfrm>
            <a:custGeom>
              <a:avLst/>
              <a:gdLst>
                <a:gd name="T0" fmla="*/ 1406 w 1553"/>
                <a:gd name="T1" fmla="*/ 336 h 483"/>
                <a:gd name="T2" fmla="*/ 148 w 1553"/>
                <a:gd name="T3" fmla="*/ 336 h 483"/>
                <a:gd name="T4" fmla="*/ 8 w 1553"/>
                <a:gd name="T5" fmla="*/ 475 h 483"/>
                <a:gd name="T6" fmla="*/ 0 w 1553"/>
                <a:gd name="T7" fmla="*/ 483 h 483"/>
                <a:gd name="T8" fmla="*/ 1553 w 1553"/>
                <a:gd name="T9" fmla="*/ 483 h 483"/>
                <a:gd name="T10" fmla="*/ 1408 w 1553"/>
                <a:gd name="T11" fmla="*/ 338 h 483"/>
                <a:gd name="T12" fmla="*/ 1406 w 1553"/>
                <a:gd name="T13" fmla="*/ 336 h 483"/>
              </a:gdLst>
              <a:ahLst/>
              <a:cxnLst>
                <a:cxn ang="0">
                  <a:pos x="T0" y="T1"/>
                </a:cxn>
                <a:cxn ang="0">
                  <a:pos x="T2" y="T3"/>
                </a:cxn>
                <a:cxn ang="0">
                  <a:pos x="T4" y="T5"/>
                </a:cxn>
                <a:cxn ang="0">
                  <a:pos x="T6" y="T7"/>
                </a:cxn>
                <a:cxn ang="0">
                  <a:pos x="T8" y="T9"/>
                </a:cxn>
                <a:cxn ang="0">
                  <a:pos x="T10" y="T11"/>
                </a:cxn>
                <a:cxn ang="0">
                  <a:pos x="T12" y="T13"/>
                </a:cxn>
              </a:cxnLst>
              <a:rect l="0" t="0" r="r" b="b"/>
              <a:pathLst>
                <a:path w="1553" h="483">
                  <a:moveTo>
                    <a:pt x="1406" y="336"/>
                  </a:moveTo>
                  <a:cubicBezTo>
                    <a:pt x="1055" y="0"/>
                    <a:pt x="499" y="0"/>
                    <a:pt x="148" y="336"/>
                  </a:cubicBezTo>
                  <a:cubicBezTo>
                    <a:pt x="8" y="475"/>
                    <a:pt x="8" y="475"/>
                    <a:pt x="8" y="475"/>
                  </a:cubicBezTo>
                  <a:cubicBezTo>
                    <a:pt x="6" y="478"/>
                    <a:pt x="3" y="480"/>
                    <a:pt x="0" y="483"/>
                  </a:cubicBezTo>
                  <a:cubicBezTo>
                    <a:pt x="1553" y="483"/>
                    <a:pt x="1553" y="483"/>
                    <a:pt x="1553" y="483"/>
                  </a:cubicBezTo>
                  <a:cubicBezTo>
                    <a:pt x="1408" y="338"/>
                    <a:pt x="1408" y="338"/>
                    <a:pt x="1408" y="338"/>
                  </a:cubicBezTo>
                  <a:cubicBezTo>
                    <a:pt x="1407" y="337"/>
                    <a:pt x="1407" y="336"/>
                    <a:pt x="1406" y="33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Freeform 6">
              <a:extLst>
                <a:ext uri="{FF2B5EF4-FFF2-40B4-BE49-F238E27FC236}">
                  <a16:creationId xmlns:a16="http://schemas.microsoft.com/office/drawing/2014/main" id="{18065DC8-4D02-40F4-9FB9-E3C0DCF8DE14}"/>
                </a:ext>
              </a:extLst>
            </p:cNvPr>
            <p:cNvSpPr>
              <a:spLocks/>
            </p:cNvSpPr>
            <p:nvPr userDrawn="1"/>
          </p:nvSpPr>
          <p:spPr bwMode="auto">
            <a:xfrm>
              <a:off x="-3175" y="8686801"/>
              <a:ext cx="1049338" cy="1055688"/>
            </a:xfrm>
            <a:custGeom>
              <a:avLst/>
              <a:gdLst>
                <a:gd name="T0" fmla="*/ 8 w 324"/>
                <a:gd name="T1" fmla="*/ 8 h 323"/>
                <a:gd name="T2" fmla="*/ 0 w 324"/>
                <a:gd name="T3" fmla="*/ 0 h 323"/>
                <a:gd name="T4" fmla="*/ 0 w 324"/>
                <a:gd name="T5" fmla="*/ 323 h 323"/>
                <a:gd name="T6" fmla="*/ 324 w 324"/>
                <a:gd name="T7" fmla="*/ 323 h 323"/>
                <a:gd name="T8" fmla="*/ 316 w 324"/>
                <a:gd name="T9" fmla="*/ 315 h 323"/>
                <a:gd name="T10" fmla="*/ 8 w 324"/>
                <a:gd name="T11" fmla="*/ 8 h 323"/>
              </a:gdLst>
              <a:ahLst/>
              <a:cxnLst>
                <a:cxn ang="0">
                  <a:pos x="T0" y="T1"/>
                </a:cxn>
                <a:cxn ang="0">
                  <a:pos x="T2" y="T3"/>
                </a:cxn>
                <a:cxn ang="0">
                  <a:pos x="T4" y="T5"/>
                </a:cxn>
                <a:cxn ang="0">
                  <a:pos x="T6" y="T7"/>
                </a:cxn>
                <a:cxn ang="0">
                  <a:pos x="T8" y="T9"/>
                </a:cxn>
                <a:cxn ang="0">
                  <a:pos x="T10" y="T11"/>
                </a:cxn>
              </a:cxnLst>
              <a:rect l="0" t="0" r="r" b="b"/>
              <a:pathLst>
                <a:path w="324" h="323">
                  <a:moveTo>
                    <a:pt x="8" y="8"/>
                  </a:moveTo>
                  <a:cubicBezTo>
                    <a:pt x="5" y="5"/>
                    <a:pt x="3" y="2"/>
                    <a:pt x="0" y="0"/>
                  </a:cubicBezTo>
                  <a:cubicBezTo>
                    <a:pt x="0" y="323"/>
                    <a:pt x="0" y="323"/>
                    <a:pt x="0" y="323"/>
                  </a:cubicBezTo>
                  <a:cubicBezTo>
                    <a:pt x="324" y="323"/>
                    <a:pt x="324" y="323"/>
                    <a:pt x="324" y="323"/>
                  </a:cubicBezTo>
                  <a:cubicBezTo>
                    <a:pt x="321" y="320"/>
                    <a:pt x="318" y="318"/>
                    <a:pt x="316" y="315"/>
                  </a:cubicBezTo>
                  <a:lnTo>
                    <a:pt x="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grpSp>
        <p:nvGrpSpPr>
          <p:cNvPr id="28" name="Group 27">
            <a:extLst>
              <a:ext uri="{FF2B5EF4-FFF2-40B4-BE49-F238E27FC236}">
                <a16:creationId xmlns:a16="http://schemas.microsoft.com/office/drawing/2014/main" id="{A34E25AD-EED5-471B-98B7-26C1327FF801}"/>
              </a:ext>
            </a:extLst>
          </p:cNvPr>
          <p:cNvGrpSpPr/>
          <p:nvPr userDrawn="1"/>
        </p:nvGrpSpPr>
        <p:grpSpPr>
          <a:xfrm>
            <a:off x="-1949449" y="2241549"/>
            <a:ext cx="1835150" cy="3096587"/>
            <a:chOff x="-1949449" y="2241549"/>
            <a:chExt cx="1835150" cy="3096587"/>
          </a:xfrm>
        </p:grpSpPr>
        <p:sp>
          <p:nvSpPr>
            <p:cNvPr id="32" name="TextBox 1">
              <a:extLst>
                <a:ext uri="{FF2B5EF4-FFF2-40B4-BE49-F238E27FC236}">
                  <a16:creationId xmlns:a16="http://schemas.microsoft.com/office/drawing/2014/main" id="{784C8AC3-D933-476C-B25A-5E0E981C5CDF}"/>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33" name="Rechthoek 28">
              <a:extLst>
                <a:ext uri="{FF2B5EF4-FFF2-40B4-BE49-F238E27FC236}">
                  <a16:creationId xmlns:a16="http://schemas.microsoft.com/office/drawing/2014/main" id="{FBB49037-884C-4937-AEDD-13536829A19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1">
              <a:extLst>
                <a:ext uri="{FF2B5EF4-FFF2-40B4-BE49-F238E27FC236}">
                  <a16:creationId xmlns:a16="http://schemas.microsoft.com/office/drawing/2014/main" id="{CCB81E36-A5B5-4D78-B985-C5BE2B1F7478}"/>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hthoek 32">
              <a:extLst>
                <a:ext uri="{FF2B5EF4-FFF2-40B4-BE49-F238E27FC236}">
                  <a16:creationId xmlns:a16="http://schemas.microsoft.com/office/drawing/2014/main" id="{2B57FFE7-58EA-4B38-8EA7-F3D288AF21D2}"/>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hthoek 33">
              <a:extLst>
                <a:ext uri="{FF2B5EF4-FFF2-40B4-BE49-F238E27FC236}">
                  <a16:creationId xmlns:a16="http://schemas.microsoft.com/office/drawing/2014/main" id="{3BB77820-4AB5-4C7B-9294-E349DAFF42F4}"/>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hthoek 34">
              <a:extLst>
                <a:ext uri="{FF2B5EF4-FFF2-40B4-BE49-F238E27FC236}">
                  <a16:creationId xmlns:a16="http://schemas.microsoft.com/office/drawing/2014/main" id="{71C8CD52-138A-4F1A-A95A-1B8B493D6D7D}"/>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hthoek 35">
              <a:extLst>
                <a:ext uri="{FF2B5EF4-FFF2-40B4-BE49-F238E27FC236}">
                  <a16:creationId xmlns:a16="http://schemas.microsoft.com/office/drawing/2014/main" id="{D6493085-CE27-4130-A93C-A67A63282D26}"/>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hthoek 36">
              <a:extLst>
                <a:ext uri="{FF2B5EF4-FFF2-40B4-BE49-F238E27FC236}">
                  <a16:creationId xmlns:a16="http://schemas.microsoft.com/office/drawing/2014/main" id="{28865059-157C-453E-AE9D-BED7D8D43D14}"/>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hthoek 37">
              <a:extLst>
                <a:ext uri="{FF2B5EF4-FFF2-40B4-BE49-F238E27FC236}">
                  <a16:creationId xmlns:a16="http://schemas.microsoft.com/office/drawing/2014/main" id="{E0E66D4B-510C-4F2F-B3AA-4FC512CFD8FE}"/>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hthoek 38">
              <a:extLst>
                <a:ext uri="{FF2B5EF4-FFF2-40B4-BE49-F238E27FC236}">
                  <a16:creationId xmlns:a16="http://schemas.microsoft.com/office/drawing/2014/main" id="{6D5A91B7-4465-4A4D-932E-79CD9F4B3656}"/>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hthoek 39">
              <a:extLst>
                <a:ext uri="{FF2B5EF4-FFF2-40B4-BE49-F238E27FC236}">
                  <a16:creationId xmlns:a16="http://schemas.microsoft.com/office/drawing/2014/main" id="{E3A6E316-779A-433B-8EAF-CA94B680F6E8}"/>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hthoek 40">
              <a:extLst>
                <a:ext uri="{FF2B5EF4-FFF2-40B4-BE49-F238E27FC236}">
                  <a16:creationId xmlns:a16="http://schemas.microsoft.com/office/drawing/2014/main" id="{61F4BFF3-5BA3-4318-B0F1-5C6754E6EAB8}"/>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hthoek 41">
              <a:extLst>
                <a:ext uri="{FF2B5EF4-FFF2-40B4-BE49-F238E27FC236}">
                  <a16:creationId xmlns:a16="http://schemas.microsoft.com/office/drawing/2014/main" id="{337557F6-EDA2-4614-9E4C-04ED7782257F}"/>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2">
              <a:extLst>
                <a:ext uri="{FF2B5EF4-FFF2-40B4-BE49-F238E27FC236}">
                  <a16:creationId xmlns:a16="http://schemas.microsoft.com/office/drawing/2014/main" id="{5156DDF8-A2EE-438C-B6C0-76CFC72D3475}"/>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3">
              <a:extLst>
                <a:ext uri="{FF2B5EF4-FFF2-40B4-BE49-F238E27FC236}">
                  <a16:creationId xmlns:a16="http://schemas.microsoft.com/office/drawing/2014/main" id="{1F8C25FF-11F8-4F2B-A159-65EAFDAA8DC2}"/>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44">
              <a:extLst>
                <a:ext uri="{FF2B5EF4-FFF2-40B4-BE49-F238E27FC236}">
                  <a16:creationId xmlns:a16="http://schemas.microsoft.com/office/drawing/2014/main" id="{CBA20E5A-86FD-4C7F-9401-E8C5CE743A4A}"/>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45">
              <a:extLst>
                <a:ext uri="{FF2B5EF4-FFF2-40B4-BE49-F238E27FC236}">
                  <a16:creationId xmlns:a16="http://schemas.microsoft.com/office/drawing/2014/main" id="{D44A8338-7B06-4EE6-B91E-FDF7B84C514B}"/>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0041486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p:bg>
      <p:bgPr>
        <a:solidFill>
          <a:schemeClr val="bg1"/>
        </a:solidFill>
        <a:effectLst/>
      </p:bgPr>
    </p:bg>
    <p:spTree>
      <p:nvGrpSpPr>
        <p:cNvPr id="1" name=""/>
        <p:cNvGrpSpPr/>
        <p:nvPr/>
      </p:nvGrpSpPr>
      <p:grpSpPr>
        <a:xfrm>
          <a:off x="0" y="0"/>
          <a:ext cx="0" cy="0"/>
          <a:chOff x="0" y="0"/>
          <a:chExt cx="0" cy="0"/>
        </a:xfrm>
      </p:grpSpPr>
      <p:sp>
        <p:nvSpPr>
          <p:cNvPr id="17" name="Tijdelijke aanduiding voor afbeelding 16">
            <a:extLst>
              <a:ext uri="{FF2B5EF4-FFF2-40B4-BE49-F238E27FC236}">
                <a16:creationId xmlns:a16="http://schemas.microsoft.com/office/drawing/2014/main" id="{1304B616-E072-43DA-ABD7-D4E00825D625}"/>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 h 6858000"/>
              <a:gd name="connsiteX3" fmla="*/ 8487125 w 12192000"/>
              <a:gd name="connsiteY3" fmla="*/ 1 h 6858000"/>
              <a:gd name="connsiteX4" fmla="*/ 10530208 w 12192000"/>
              <a:gd name="connsiteY4" fmla="*/ 709754 h 6858000"/>
              <a:gd name="connsiteX5" fmla="*/ 11337273 w 12192000"/>
              <a:gd name="connsiteY5" fmla="*/ 709754 h 6858000"/>
              <a:gd name="connsiteX6" fmla="*/ 11658193 w 12192000"/>
              <a:gd name="connsiteY6" fmla="*/ 773696 h 6858000"/>
              <a:gd name="connsiteX7" fmla="*/ 12192000 w 12192000"/>
              <a:gd name="connsiteY7" fmla="*/ 1470661 h 6858000"/>
              <a:gd name="connsiteX8" fmla="*/ 12192000 w 12192000"/>
              <a:gd name="connsiteY8" fmla="*/ 6858000 h 6858000"/>
              <a:gd name="connsiteX9" fmla="*/ 0 w 12192000"/>
              <a:gd name="connsiteY9" fmla="*/ 6858000 h 6858000"/>
              <a:gd name="connsiteX0" fmla="*/ 0 w 12192000"/>
              <a:gd name="connsiteY0" fmla="*/ 0 h 6858000"/>
              <a:gd name="connsiteX1" fmla="*/ 12192000 w 12192000"/>
              <a:gd name="connsiteY1" fmla="*/ 0 h 6858000"/>
              <a:gd name="connsiteX2" fmla="*/ 8487125 w 12192000"/>
              <a:gd name="connsiteY2" fmla="*/ 1 h 6858000"/>
              <a:gd name="connsiteX3" fmla="*/ 10530208 w 12192000"/>
              <a:gd name="connsiteY3" fmla="*/ 709754 h 6858000"/>
              <a:gd name="connsiteX4" fmla="*/ 11337273 w 12192000"/>
              <a:gd name="connsiteY4" fmla="*/ 709754 h 6858000"/>
              <a:gd name="connsiteX5" fmla="*/ 11658193 w 12192000"/>
              <a:gd name="connsiteY5" fmla="*/ 773696 h 6858000"/>
              <a:gd name="connsiteX6" fmla="*/ 12192000 w 12192000"/>
              <a:gd name="connsiteY6" fmla="*/ 1470661 h 6858000"/>
              <a:gd name="connsiteX7" fmla="*/ 12192000 w 12192000"/>
              <a:gd name="connsiteY7" fmla="*/ 6858000 h 6858000"/>
              <a:gd name="connsiteX8" fmla="*/ 0 w 12192000"/>
              <a:gd name="connsiteY8" fmla="*/ 6858000 h 6858000"/>
              <a:gd name="connsiteX9" fmla="*/ 0 w 12192000"/>
              <a:gd name="connsiteY9" fmla="*/ 0 h 6858000"/>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0 w 12192000"/>
              <a:gd name="connsiteY7" fmla="*/ 6858000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0" y="6858000"/>
                </a:ln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a:lvl1pPr>
          </a:lstStyle>
          <a:p>
            <a:r>
              <a:rPr lang="nl-NL" dirty="0"/>
              <a:t>Klik icoon om afbeelding in te voegen</a:t>
            </a:r>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bg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sp>
        <p:nvSpPr>
          <p:cNvPr id="14" name="Tijdelijke aanduiding voor tekst 13">
            <a:extLst>
              <a:ext uri="{FF2B5EF4-FFF2-40B4-BE49-F238E27FC236}">
                <a16:creationId xmlns:a16="http://schemas.microsoft.com/office/drawing/2014/main" id="{86E54F91-9D12-4E7C-901E-39E9441B4FEB}"/>
              </a:ext>
            </a:extLst>
          </p:cNvPr>
          <p:cNvSpPr>
            <a:spLocks noGrp="1"/>
          </p:cNvSpPr>
          <p:nvPr>
            <p:ph type="body" sz="quarter" idx="13" hasCustomPrompt="1"/>
          </p:nvPr>
        </p:nvSpPr>
        <p:spPr>
          <a:xfrm>
            <a:off x="1054750" y="5768724"/>
            <a:ext cx="3117600" cy="540000"/>
          </a:xfrm>
          <a:blipFill>
            <a:blip r:embed="rId2"/>
            <a:stretch>
              <a:fillRect/>
            </a:stretch>
          </a:blipFill>
        </p:spPr>
        <p:txBody>
          <a:bodyPr/>
          <a:lstStyle>
            <a:lvl1pPr marL="0" indent="0">
              <a:buFont typeface="Arial" panose="020B0604020202020204" pitchFamily="34" charset="0"/>
              <a:buNone/>
              <a:defRPr/>
            </a:lvl1pPr>
          </a:lstStyle>
          <a:p>
            <a:pPr lvl="0"/>
            <a:r>
              <a:rPr lang="nl-NL" dirty="0"/>
              <a:t> </a:t>
            </a:r>
          </a:p>
        </p:txBody>
      </p:sp>
      <p:sp>
        <p:nvSpPr>
          <p:cNvPr id="21" name="Tijdelijke aanduiding voor tekst 13">
            <a:extLst>
              <a:ext uri="{FF2B5EF4-FFF2-40B4-BE49-F238E27FC236}">
                <a16:creationId xmlns:a16="http://schemas.microsoft.com/office/drawing/2014/main" id="{1E4D5441-70BE-47E0-9429-7FB49EDC1D7F}"/>
              </a:ext>
            </a:extLst>
          </p:cNvPr>
          <p:cNvSpPr>
            <a:spLocks noGrp="1"/>
          </p:cNvSpPr>
          <p:nvPr>
            <p:ph type="body" sz="quarter" idx="14" hasCustomPrompt="1"/>
          </p:nvPr>
        </p:nvSpPr>
        <p:spPr>
          <a:xfrm>
            <a:off x="8706313" y="5931578"/>
            <a:ext cx="2430000" cy="270000"/>
          </a:xfrm>
          <a:blipFill>
            <a:blip r:embed="rId3"/>
            <a:stretch>
              <a:fillRect/>
            </a:stretch>
          </a:blipFill>
        </p:spPr>
        <p:txBody>
          <a:bodyPr/>
          <a:lstStyle>
            <a:lvl1pPr marL="0" indent="0">
              <a:buFont typeface="Arial" panose="020B0604020202020204" pitchFamily="34" charset="0"/>
              <a:buNone/>
              <a:defRPr/>
            </a:lvl1pPr>
          </a:lstStyle>
          <a:p>
            <a:pPr lvl="0"/>
            <a:r>
              <a:rPr lang="nl-NL" dirty="0"/>
              <a:t> </a:t>
            </a:r>
          </a:p>
        </p:txBody>
      </p:sp>
      <p:pic>
        <p:nvPicPr>
          <p:cNvPr id="22" name="Afbeelding 21">
            <a:extLst>
              <a:ext uri="{FF2B5EF4-FFF2-40B4-BE49-F238E27FC236}">
                <a16:creationId xmlns:a16="http://schemas.microsoft.com/office/drawing/2014/main" id="{CBBDE474-0704-4969-B0C3-61F1CD0AD49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2212259" y="1304924"/>
            <a:ext cx="1692000" cy="2628608"/>
          </a:xfrm>
          <a:prstGeom prst="rect">
            <a:avLst/>
          </a:prstGeom>
        </p:spPr>
      </p:pic>
      <p:sp>
        <p:nvSpPr>
          <p:cNvPr id="15" name="Tekstvak 14">
            <a:extLst>
              <a:ext uri="{FF2B5EF4-FFF2-40B4-BE49-F238E27FC236}">
                <a16:creationId xmlns:a16="http://schemas.microsoft.com/office/drawing/2014/main" id="{A4EEFB45-FF36-4D9F-A4BB-8DFD0EC926C8}"/>
              </a:ext>
            </a:extLst>
          </p:cNvPr>
          <p:cNvSpPr txBox="1"/>
          <p:nvPr userDrawn="1"/>
        </p:nvSpPr>
        <p:spPr>
          <a:xfrm>
            <a:off x="-2212259" y="4028153"/>
            <a:ext cx="1692000" cy="1692771"/>
          </a:xfrm>
          <a:prstGeom prst="rect">
            <a:avLst/>
          </a:prstGeom>
          <a:noFill/>
        </p:spPr>
        <p:txBody>
          <a:bodyPr wrap="square" lIns="0" tIns="0" rIns="0" bIns="0" rtlCol="0">
            <a:spAutoFit/>
          </a:bodyPr>
          <a:lstStyle/>
          <a:p>
            <a:r>
              <a:rPr lang="nl-NL" sz="1100" dirty="0"/>
              <a:t>Een foto </a:t>
            </a:r>
            <a:r>
              <a:rPr lang="nl-NL" sz="1100" dirty="0" err="1"/>
              <a:t>herkleuren</a:t>
            </a:r>
            <a:r>
              <a:rPr lang="nl-NL" sz="1100" dirty="0"/>
              <a:t> met de kleuren uit het kleurenschema:</a:t>
            </a:r>
          </a:p>
          <a:p>
            <a:pPr marL="177800" indent="-177800">
              <a:buFont typeface="Arial" panose="020B0604020202020204" pitchFamily="34" charset="0"/>
              <a:buChar char="•"/>
            </a:pPr>
            <a:r>
              <a:rPr lang="nl-NL" sz="1100" dirty="0"/>
              <a:t>Selecteer de foto</a:t>
            </a:r>
          </a:p>
          <a:p>
            <a:pPr marL="177800" indent="-177800">
              <a:buFont typeface="Arial" panose="020B0604020202020204" pitchFamily="34" charset="0"/>
              <a:buChar char="•"/>
            </a:pPr>
            <a:r>
              <a:rPr lang="nl-NL" sz="1100" dirty="0"/>
              <a:t>Ga in het Lint naar Picture Format – </a:t>
            </a:r>
            <a:r>
              <a:rPr lang="nl-NL" sz="1100" dirty="0" err="1"/>
              <a:t>Adjust</a:t>
            </a:r>
            <a:r>
              <a:rPr lang="nl-NL" sz="1100" dirty="0"/>
              <a:t> – </a:t>
            </a:r>
            <a:r>
              <a:rPr lang="nl-NL" sz="1100" dirty="0" err="1"/>
              <a:t>Color</a:t>
            </a:r>
            <a:r>
              <a:rPr lang="nl-NL" sz="1100" dirty="0"/>
              <a:t> </a:t>
            </a:r>
            <a:br>
              <a:rPr lang="nl-NL" sz="1100" dirty="0"/>
            </a:br>
            <a:r>
              <a:rPr lang="nl-NL" sz="1100" dirty="0"/>
              <a:t>(Afbeeldingsopmaak – Aanpassen – Kleur)</a:t>
            </a:r>
          </a:p>
          <a:p>
            <a:pPr marL="177800" indent="-177800">
              <a:buFont typeface="Arial" panose="020B0604020202020204" pitchFamily="34" charset="0"/>
              <a:buChar char="•"/>
            </a:pPr>
            <a:r>
              <a:rPr lang="nl-NL" sz="1100" dirty="0"/>
              <a:t>Kies een kleur</a:t>
            </a:r>
          </a:p>
        </p:txBody>
      </p:sp>
    </p:spTree>
    <p:extLst>
      <p:ext uri="{BB962C8B-B14F-4D97-AF65-F5344CB8AC3E}">
        <p14:creationId xmlns:p14="http://schemas.microsoft.com/office/powerpoint/2010/main" val="163637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C">
    <p:bg>
      <p:bgPr>
        <a:solidFill>
          <a:schemeClr val="accent4"/>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sp>
        <p:nvSpPr>
          <p:cNvPr id="5" name="Freeform 5">
            <a:extLst>
              <a:ext uri="{FF2B5EF4-FFF2-40B4-BE49-F238E27FC236}">
                <a16:creationId xmlns:a16="http://schemas.microsoft.com/office/drawing/2014/main" id="{84AF5213-AE7D-4225-9B7A-3850B3F8C8C4}"/>
              </a:ext>
            </a:extLst>
          </p:cNvPr>
          <p:cNvSpPr>
            <a:spLocks/>
          </p:cNvSpPr>
          <p:nvPr userDrawn="1"/>
        </p:nvSpPr>
        <p:spPr bwMode="auto">
          <a:xfrm>
            <a:off x="0" y="5257800"/>
            <a:ext cx="3889375" cy="1600200"/>
          </a:xfrm>
          <a:custGeom>
            <a:avLst/>
            <a:gdLst>
              <a:gd name="T0" fmla="*/ 1229 w 1229"/>
              <a:gd name="T1" fmla="*/ 504 h 504"/>
              <a:gd name="T2" fmla="*/ 515 w 1229"/>
              <a:gd name="T3" fmla="*/ 230 h 504"/>
              <a:gd name="T4" fmla="*/ 268 w 1229"/>
              <a:gd name="T5" fmla="*/ 230 h 504"/>
              <a:gd name="T6" fmla="*/ 167 w 1229"/>
              <a:gd name="T7" fmla="*/ 210 h 504"/>
              <a:gd name="T8" fmla="*/ 0 w 1229"/>
              <a:gd name="T9" fmla="*/ 0 h 504"/>
              <a:gd name="T10" fmla="*/ 0 w 1229"/>
              <a:gd name="T11" fmla="*/ 504 h 504"/>
              <a:gd name="T12" fmla="*/ 1229 w 1229"/>
              <a:gd name="T13" fmla="*/ 504 h 504"/>
            </a:gdLst>
            <a:ahLst/>
            <a:cxnLst>
              <a:cxn ang="0">
                <a:pos x="T0" y="T1"/>
              </a:cxn>
              <a:cxn ang="0">
                <a:pos x="T2" y="T3"/>
              </a:cxn>
              <a:cxn ang="0">
                <a:pos x="T4" y="T5"/>
              </a:cxn>
              <a:cxn ang="0">
                <a:pos x="T6" y="T7"/>
              </a:cxn>
              <a:cxn ang="0">
                <a:pos x="T8" y="T9"/>
              </a:cxn>
              <a:cxn ang="0">
                <a:pos x="T10" y="T11"/>
              </a:cxn>
              <a:cxn ang="0">
                <a:pos x="T12" y="T13"/>
              </a:cxn>
            </a:cxnLst>
            <a:rect l="0" t="0" r="r" b="b"/>
            <a:pathLst>
              <a:path w="1229" h="504">
                <a:moveTo>
                  <a:pt x="1229" y="504"/>
                </a:moveTo>
                <a:cubicBezTo>
                  <a:pt x="1036" y="338"/>
                  <a:pt x="787" y="236"/>
                  <a:pt x="515" y="230"/>
                </a:cubicBezTo>
                <a:cubicBezTo>
                  <a:pt x="268" y="230"/>
                  <a:pt x="268" y="230"/>
                  <a:pt x="268" y="230"/>
                </a:cubicBezTo>
                <a:cubicBezTo>
                  <a:pt x="233" y="230"/>
                  <a:pt x="198" y="223"/>
                  <a:pt x="167" y="210"/>
                </a:cubicBezTo>
                <a:cubicBezTo>
                  <a:pt x="80" y="175"/>
                  <a:pt x="15" y="96"/>
                  <a:pt x="0" y="0"/>
                </a:cubicBezTo>
                <a:cubicBezTo>
                  <a:pt x="0" y="504"/>
                  <a:pt x="0" y="504"/>
                  <a:pt x="0" y="504"/>
                </a:cubicBezTo>
                <a:lnTo>
                  <a:pt x="1229" y="5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Freeform 6">
            <a:extLst>
              <a:ext uri="{FF2B5EF4-FFF2-40B4-BE49-F238E27FC236}">
                <a16:creationId xmlns:a16="http://schemas.microsoft.com/office/drawing/2014/main" id="{18513921-8AA6-4EF8-8D52-358C3B7B5921}"/>
              </a:ext>
            </a:extLst>
          </p:cNvPr>
          <p:cNvSpPr>
            <a:spLocks/>
          </p:cNvSpPr>
          <p:nvPr userDrawn="1"/>
        </p:nvSpPr>
        <p:spPr bwMode="auto">
          <a:xfrm>
            <a:off x="8497887" y="0"/>
            <a:ext cx="3694113" cy="1460500"/>
          </a:xfrm>
          <a:custGeom>
            <a:avLst/>
            <a:gdLst>
              <a:gd name="T0" fmla="*/ 898 w 1167"/>
              <a:gd name="T1" fmla="*/ 222 h 460"/>
              <a:gd name="T2" fmla="*/ 998 w 1167"/>
              <a:gd name="T3" fmla="*/ 242 h 460"/>
              <a:gd name="T4" fmla="*/ 1167 w 1167"/>
              <a:gd name="T5" fmla="*/ 460 h 460"/>
              <a:gd name="T6" fmla="*/ 1167 w 1167"/>
              <a:gd name="T7" fmla="*/ 0 h 460"/>
              <a:gd name="T8" fmla="*/ 0 w 1167"/>
              <a:gd name="T9" fmla="*/ 0 h 460"/>
              <a:gd name="T10" fmla="*/ 644 w 1167"/>
              <a:gd name="T11" fmla="*/ 222 h 460"/>
              <a:gd name="T12" fmla="*/ 898 w 1167"/>
              <a:gd name="T13" fmla="*/ 222 h 460"/>
            </a:gdLst>
            <a:ahLst/>
            <a:cxnLst>
              <a:cxn ang="0">
                <a:pos x="T0" y="T1"/>
              </a:cxn>
              <a:cxn ang="0">
                <a:pos x="T2" y="T3"/>
              </a:cxn>
              <a:cxn ang="0">
                <a:pos x="T4" y="T5"/>
              </a:cxn>
              <a:cxn ang="0">
                <a:pos x="T6" y="T7"/>
              </a:cxn>
              <a:cxn ang="0">
                <a:pos x="T8" y="T9"/>
              </a:cxn>
              <a:cxn ang="0">
                <a:pos x="T10" y="T11"/>
              </a:cxn>
              <a:cxn ang="0">
                <a:pos x="T12" y="T13"/>
              </a:cxn>
            </a:cxnLst>
            <a:rect l="0" t="0" r="r" b="b"/>
            <a:pathLst>
              <a:path w="1167" h="460">
                <a:moveTo>
                  <a:pt x="898" y="222"/>
                </a:moveTo>
                <a:cubicBezTo>
                  <a:pt x="933" y="222"/>
                  <a:pt x="967" y="229"/>
                  <a:pt x="998" y="242"/>
                </a:cubicBezTo>
                <a:cubicBezTo>
                  <a:pt x="1088" y="278"/>
                  <a:pt x="1155" y="361"/>
                  <a:pt x="1167" y="460"/>
                </a:cubicBezTo>
                <a:cubicBezTo>
                  <a:pt x="1167" y="0"/>
                  <a:pt x="1167" y="0"/>
                  <a:pt x="1167" y="0"/>
                </a:cubicBezTo>
                <a:cubicBezTo>
                  <a:pt x="0" y="0"/>
                  <a:pt x="0" y="0"/>
                  <a:pt x="0" y="0"/>
                </a:cubicBezTo>
                <a:cubicBezTo>
                  <a:pt x="181" y="134"/>
                  <a:pt x="404" y="216"/>
                  <a:pt x="644" y="222"/>
                </a:cubicBezTo>
                <a:lnTo>
                  <a:pt x="898"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4" name="Group 23">
            <a:extLst>
              <a:ext uri="{FF2B5EF4-FFF2-40B4-BE49-F238E27FC236}">
                <a16:creationId xmlns:a16="http://schemas.microsoft.com/office/drawing/2014/main" id="{001AD19F-9436-43CF-868C-A5D2467AA2B0}"/>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6E532FDC-1EBF-4E1B-9E74-E034D67EB9A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91834E67-9615-4279-B904-518AFEDBE0E3}"/>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hthoek 31">
              <a:extLst>
                <a:ext uri="{FF2B5EF4-FFF2-40B4-BE49-F238E27FC236}">
                  <a16:creationId xmlns:a16="http://schemas.microsoft.com/office/drawing/2014/main" id="{6E745EBE-CD91-444E-8D80-867EA25A67BB}"/>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32">
              <a:extLst>
                <a:ext uri="{FF2B5EF4-FFF2-40B4-BE49-F238E27FC236}">
                  <a16:creationId xmlns:a16="http://schemas.microsoft.com/office/drawing/2014/main" id="{997ED10E-3559-42BF-9864-B4B5F9EE07BC}"/>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3">
              <a:extLst>
                <a:ext uri="{FF2B5EF4-FFF2-40B4-BE49-F238E27FC236}">
                  <a16:creationId xmlns:a16="http://schemas.microsoft.com/office/drawing/2014/main" id="{AADF47A3-6B64-4E0C-A7AA-D102FFF38D0F}"/>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4">
              <a:extLst>
                <a:ext uri="{FF2B5EF4-FFF2-40B4-BE49-F238E27FC236}">
                  <a16:creationId xmlns:a16="http://schemas.microsoft.com/office/drawing/2014/main" id="{06203088-0D5B-4562-ACAD-4FE28A7F5CAA}"/>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5">
              <a:extLst>
                <a:ext uri="{FF2B5EF4-FFF2-40B4-BE49-F238E27FC236}">
                  <a16:creationId xmlns:a16="http://schemas.microsoft.com/office/drawing/2014/main" id="{A54FD0BC-2FF6-4DCE-85E9-5CB59FAC039E}"/>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6">
              <a:extLst>
                <a:ext uri="{FF2B5EF4-FFF2-40B4-BE49-F238E27FC236}">
                  <a16:creationId xmlns:a16="http://schemas.microsoft.com/office/drawing/2014/main" id="{F88F4FE5-F0BE-41F0-ABA2-DEA0CCD67317}"/>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7">
              <a:extLst>
                <a:ext uri="{FF2B5EF4-FFF2-40B4-BE49-F238E27FC236}">
                  <a16:creationId xmlns:a16="http://schemas.microsoft.com/office/drawing/2014/main" id="{7BDB9FE3-F93B-44BB-8602-8A7452AF56A6}"/>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8">
              <a:extLst>
                <a:ext uri="{FF2B5EF4-FFF2-40B4-BE49-F238E27FC236}">
                  <a16:creationId xmlns:a16="http://schemas.microsoft.com/office/drawing/2014/main" id="{7B946699-8455-4B89-B316-F24FFEDB6D30}"/>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9">
              <a:extLst>
                <a:ext uri="{FF2B5EF4-FFF2-40B4-BE49-F238E27FC236}">
                  <a16:creationId xmlns:a16="http://schemas.microsoft.com/office/drawing/2014/main" id="{EEAE3A54-E953-4EE7-8079-01BB32BC9F98}"/>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40">
              <a:extLst>
                <a:ext uri="{FF2B5EF4-FFF2-40B4-BE49-F238E27FC236}">
                  <a16:creationId xmlns:a16="http://schemas.microsoft.com/office/drawing/2014/main" id="{106D0653-50CE-4E0B-8785-3FB91D09B416}"/>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41">
              <a:extLst>
                <a:ext uri="{FF2B5EF4-FFF2-40B4-BE49-F238E27FC236}">
                  <a16:creationId xmlns:a16="http://schemas.microsoft.com/office/drawing/2014/main" id="{0B3D0C93-005D-4B6C-B161-D3918B9B564F}"/>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2">
              <a:extLst>
                <a:ext uri="{FF2B5EF4-FFF2-40B4-BE49-F238E27FC236}">
                  <a16:creationId xmlns:a16="http://schemas.microsoft.com/office/drawing/2014/main" id="{1C35BDFF-DFC1-4D71-BAF7-7A8A3B0AED06}"/>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3">
              <a:extLst>
                <a:ext uri="{FF2B5EF4-FFF2-40B4-BE49-F238E27FC236}">
                  <a16:creationId xmlns:a16="http://schemas.microsoft.com/office/drawing/2014/main" id="{5D1E9B5C-C808-4A2E-8204-19EEB197635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4">
              <a:extLst>
                <a:ext uri="{FF2B5EF4-FFF2-40B4-BE49-F238E27FC236}">
                  <a16:creationId xmlns:a16="http://schemas.microsoft.com/office/drawing/2014/main" id="{69C6C95F-0969-4E70-890F-1A131050D9AC}"/>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5">
              <a:extLst>
                <a:ext uri="{FF2B5EF4-FFF2-40B4-BE49-F238E27FC236}">
                  <a16:creationId xmlns:a16="http://schemas.microsoft.com/office/drawing/2014/main" id="{431599B8-8930-477C-BF1D-4AC140E088D9}"/>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2974098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afbeelding A">
    <p:bg>
      <p:bgPr>
        <a:solidFill>
          <a:schemeClr val="bg1"/>
        </a:solidFill>
        <a:effectLst/>
      </p:bgPr>
    </p:bg>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5F753A72-4DFF-4A77-A084-C86DDC1E528D}"/>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12" name="Titel 1">
            <a:extLst>
              <a:ext uri="{FF2B5EF4-FFF2-40B4-BE49-F238E27FC236}">
                <a16:creationId xmlns:a16="http://schemas.microsoft.com/office/drawing/2014/main" id="{0FB1C0A5-472E-4459-9A53-8B0F47AF5DF9}"/>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3" name="Ondertitel 2">
            <a:extLst>
              <a:ext uri="{FF2B5EF4-FFF2-40B4-BE49-F238E27FC236}">
                <a16:creationId xmlns:a16="http://schemas.microsoft.com/office/drawing/2014/main" id="{402C04E2-C174-4F50-A08B-C9B7F196C484}"/>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grpSp>
        <p:nvGrpSpPr>
          <p:cNvPr id="10" name="Group 9">
            <a:extLst>
              <a:ext uri="{FF2B5EF4-FFF2-40B4-BE49-F238E27FC236}">
                <a16:creationId xmlns:a16="http://schemas.microsoft.com/office/drawing/2014/main" id="{0EBD9B1E-373A-40D8-8023-CC0C14241FAD}"/>
              </a:ext>
            </a:extLst>
          </p:cNvPr>
          <p:cNvGrpSpPr/>
          <p:nvPr userDrawn="1"/>
        </p:nvGrpSpPr>
        <p:grpSpPr>
          <a:xfrm>
            <a:off x="-1949449" y="2241549"/>
            <a:ext cx="1835150" cy="2674712"/>
            <a:chOff x="-1949449" y="2241549"/>
            <a:chExt cx="1835150" cy="2674712"/>
          </a:xfrm>
        </p:grpSpPr>
        <p:sp>
          <p:nvSpPr>
            <p:cNvPr id="5" name="TextBox 1">
              <a:extLst>
                <a:ext uri="{FF2B5EF4-FFF2-40B4-BE49-F238E27FC236}">
                  <a16:creationId xmlns:a16="http://schemas.microsoft.com/office/drawing/2014/main" id="{6D6545D1-2F6D-4820-A3D3-EE6F9AFE62B7}"/>
                </a:ext>
              </a:extLst>
            </p:cNvPr>
            <p:cNvSpPr txBox="1"/>
            <p:nvPr userDrawn="1"/>
          </p:nvSpPr>
          <p:spPr>
            <a:xfrm>
              <a:off x="-1949449" y="2241549"/>
              <a:ext cx="1835150" cy="2031325"/>
            </a:xfrm>
            <a:prstGeom prst="rect">
              <a:avLst/>
            </a:prstGeom>
            <a:noFill/>
          </p:spPr>
          <p:txBody>
            <a:bodyPr wrap="square" lIns="0" tIns="0" rIns="0" bIns="0" rtlCol="0">
              <a:spAutoFit/>
            </a:bodyPr>
            <a:lstStyle/>
            <a:p>
              <a:pPr algn="l"/>
              <a:r>
                <a:rPr lang="nl-NL" sz="1100" b="1" dirty="0"/>
                <a:t>Om een foto in te voegen</a:t>
              </a:r>
            </a:p>
            <a:p>
              <a:pPr marL="171450" indent="-171450" algn="l">
                <a:buFont typeface="Karla" pitchFamily="2" charset="0"/>
                <a:buChar char="–"/>
              </a:pPr>
              <a:r>
                <a:rPr lang="nl-NL" sz="1100" dirty="0"/>
                <a:t>Verschuif het grijze vlak, zodat je bij het afbeeldingsicoon kunt</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Klik op het icoon om de afbeelding in te voegen</a:t>
              </a:r>
            </a:p>
            <a:p>
              <a:pPr marL="171450" marR="0" lvl="0" indent="-171450" algn="l" defTabSz="914400" rtl="0" eaLnBrk="1" fontAlgn="auto" latinLnBrk="0" hangingPunct="1">
                <a:lnSpc>
                  <a:spcPct val="100000"/>
                </a:lnSpc>
                <a:spcBef>
                  <a:spcPts val="0"/>
                </a:spcBef>
                <a:spcAft>
                  <a:spcPts val="0"/>
                </a:spcAft>
                <a:buClrTx/>
                <a:buSzTx/>
                <a:buFont typeface="Karla" pitchFamily="2" charset="0"/>
                <a:buChar char="–"/>
                <a:tabLst/>
                <a:defRPr/>
              </a:pPr>
              <a:r>
                <a:rPr lang="nl-NL" sz="1100" dirty="0"/>
                <a:t>Klik op Home – Slides – Reset (Start – Dia’s – Opnieuw instellen)</a:t>
              </a:r>
            </a:p>
          </p:txBody>
        </p:sp>
        <p:pic>
          <p:nvPicPr>
            <p:cNvPr id="6" name="Picture 31" descr="Afbeeldingsresultaat voor afbeeldings tijdelijke aanduiding powerpoint">
              <a:extLst>
                <a:ext uri="{FF2B5EF4-FFF2-40B4-BE49-F238E27FC236}">
                  <a16:creationId xmlns:a16="http://schemas.microsoft.com/office/drawing/2014/main" id="{4BF2C817-C677-4183-A097-003565BF743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69" t="13003" r="12284" b="17620"/>
            <a:stretch/>
          </p:blipFill>
          <p:spPr bwMode="auto">
            <a:xfrm>
              <a:off x="-1790700" y="2945607"/>
              <a:ext cx="457200" cy="455247"/>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D5117959-CF77-486C-97D1-2C31C5646FD9}"/>
                </a:ext>
              </a:extLst>
            </p:cNvPr>
            <p:cNvGrpSpPr/>
            <p:nvPr userDrawn="1"/>
          </p:nvGrpSpPr>
          <p:grpSpPr>
            <a:xfrm>
              <a:off x="-1785939" y="4341019"/>
              <a:ext cx="1560968" cy="575242"/>
              <a:chOff x="-1785939" y="4341019"/>
              <a:chExt cx="1560968" cy="575242"/>
            </a:xfrm>
          </p:grpSpPr>
          <p:pic>
            <p:nvPicPr>
              <p:cNvPr id="11" name="Picture 10">
                <a:extLst>
                  <a:ext uri="{FF2B5EF4-FFF2-40B4-BE49-F238E27FC236}">
                    <a16:creationId xmlns:a16="http://schemas.microsoft.com/office/drawing/2014/main" id="{25E8DCA0-FF03-4687-AFDD-E03CE36E9CBB}"/>
                  </a:ext>
                </a:extLst>
              </p:cNvPr>
              <p:cNvPicPr>
                <a:picLocks noChangeAspect="1"/>
              </p:cNvPicPr>
              <p:nvPr userDrawn="1"/>
            </p:nvPicPr>
            <p:blipFill rotWithShape="1">
              <a:blip r:embed="rId3"/>
              <a:srcRect t="3426" r="80208" b="84861"/>
              <a:stretch/>
            </p:blipFill>
            <p:spPr>
              <a:xfrm>
                <a:off x="-1785939" y="4341019"/>
                <a:ext cx="1555200" cy="575242"/>
              </a:xfrm>
              <a:prstGeom prst="rect">
                <a:avLst/>
              </a:prstGeom>
              <a:noFill/>
              <a:ln w="3175">
                <a:solidFill>
                  <a:schemeClr val="bg1">
                    <a:lumMod val="65000"/>
                  </a:schemeClr>
                </a:solidFill>
              </a:ln>
            </p:spPr>
          </p:pic>
          <p:sp>
            <p:nvSpPr>
              <p:cNvPr id="9" name="Rechthoek 8">
                <a:extLst>
                  <a:ext uri="{FF2B5EF4-FFF2-40B4-BE49-F238E27FC236}">
                    <a16:creationId xmlns:a16="http://schemas.microsoft.com/office/drawing/2014/main" id="{4DE68432-95CD-41E7-A2BE-8820D1C0E3AF}"/>
                  </a:ext>
                </a:extLst>
              </p:cNvPr>
              <p:cNvSpPr/>
              <p:nvPr userDrawn="1"/>
            </p:nvSpPr>
            <p:spPr>
              <a:xfrm>
                <a:off x="-595314" y="4582542"/>
                <a:ext cx="370343" cy="1330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600" dirty="0" err="1"/>
              </a:p>
            </p:txBody>
          </p:sp>
          <p:sp>
            <p:nvSpPr>
              <p:cNvPr id="2" name="Rectangle 1">
                <a:extLst>
                  <a:ext uri="{FF2B5EF4-FFF2-40B4-BE49-F238E27FC236}">
                    <a16:creationId xmlns:a16="http://schemas.microsoft.com/office/drawing/2014/main" id="{B5E226DA-46C2-4F54-8EEB-713F9D8BF898}"/>
                  </a:ext>
                </a:extLst>
              </p:cNvPr>
              <p:cNvSpPr/>
              <p:nvPr userDrawn="1"/>
            </p:nvSpPr>
            <p:spPr>
              <a:xfrm>
                <a:off x="-1752600" y="4495800"/>
                <a:ext cx="200025" cy="3048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en-GB" sz="1300" dirty="0" err="1"/>
              </a:p>
            </p:txBody>
          </p:sp>
        </p:grpSp>
      </p:grpSp>
    </p:spTree>
    <p:extLst>
      <p:ext uri="{BB962C8B-B14F-4D97-AF65-F5344CB8AC3E}">
        <p14:creationId xmlns:p14="http://schemas.microsoft.com/office/powerpoint/2010/main" val="8544351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afbeelding B">
    <p:bg>
      <p:bgPr>
        <a:solidFill>
          <a:schemeClr val="bg1"/>
        </a:solidFill>
        <a:effectLst/>
      </p:bgPr>
    </p:bg>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3EA4CC82-B82B-45F2-8EC8-8F7D24526FFB}"/>
              </a:ext>
            </a:extLst>
          </p:cNvPr>
          <p:cNvSpPr>
            <a:spLocks noGrp="1"/>
          </p:cNvSpPr>
          <p:nvPr>
            <p:ph type="pic" sz="quarter" idx="14"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4779058 w 12192000"/>
              <a:gd name="connsiteY3" fmla="*/ 6858000 h 6858000"/>
              <a:gd name="connsiteX4" fmla="*/ 2513290 w 12192000"/>
              <a:gd name="connsiteY4" fmla="*/ 5986161 h 6858000"/>
              <a:gd name="connsiteX5" fmla="*/ 1729473 w 12192000"/>
              <a:gd name="connsiteY5" fmla="*/ 5986161 h 6858000"/>
              <a:gd name="connsiteX6" fmla="*/ 1408965 w 12192000"/>
              <a:gd name="connsiteY6" fmla="*/ 5922523 h 6858000"/>
              <a:gd name="connsiteX7" fmla="*/ 869497 w 12192000"/>
              <a:gd name="connsiteY7" fmla="*/ 5120686 h 6858000"/>
              <a:gd name="connsiteX8" fmla="*/ 869497 w 12192000"/>
              <a:gd name="connsiteY8" fmla="*/ 3392918 h 6858000"/>
              <a:gd name="connsiteX9" fmla="*/ 6347 w 12192000"/>
              <a:gd name="connsiteY9" fmla="*/ 2527443 h 6858000"/>
              <a:gd name="connsiteX10" fmla="*/ 0 w 12192000"/>
              <a:gd name="connsiteY10" fmla="*/ 25274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6858000"/>
                </a:lnTo>
                <a:lnTo>
                  <a:pt x="4779058" y="6858000"/>
                </a:lnTo>
                <a:cubicBezTo>
                  <a:pt x="4166603" y="6329806"/>
                  <a:pt x="3376440" y="6005253"/>
                  <a:pt x="2513290" y="5986161"/>
                </a:cubicBezTo>
                <a:cubicBezTo>
                  <a:pt x="1729473" y="5986161"/>
                  <a:pt x="1729473" y="5986161"/>
                  <a:pt x="1729473" y="5986161"/>
                </a:cubicBezTo>
                <a:cubicBezTo>
                  <a:pt x="1618406" y="5986161"/>
                  <a:pt x="1510513" y="5963888"/>
                  <a:pt x="1408965" y="5922523"/>
                </a:cubicBezTo>
                <a:cubicBezTo>
                  <a:pt x="1091631" y="5795248"/>
                  <a:pt x="869497" y="5486604"/>
                  <a:pt x="869497" y="5120686"/>
                </a:cubicBezTo>
                <a:cubicBezTo>
                  <a:pt x="869497" y="3392918"/>
                  <a:pt x="869497" y="3392918"/>
                  <a:pt x="869497" y="3392918"/>
                </a:cubicBezTo>
                <a:cubicBezTo>
                  <a:pt x="869497" y="2915634"/>
                  <a:pt x="482349" y="2527443"/>
                  <a:pt x="6347" y="2527443"/>
                </a:cubicBezTo>
                <a:cubicBezTo>
                  <a:pt x="3173" y="2527443"/>
                  <a:pt x="3173" y="2527443"/>
                  <a:pt x="0" y="2527443"/>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12" name="Titel 1">
            <a:extLst>
              <a:ext uri="{FF2B5EF4-FFF2-40B4-BE49-F238E27FC236}">
                <a16:creationId xmlns:a16="http://schemas.microsoft.com/office/drawing/2014/main" id="{0FB1C0A5-472E-4459-9A53-8B0F47AF5DF9}"/>
              </a:ext>
            </a:extLst>
          </p:cNvPr>
          <p:cNvSpPr>
            <a:spLocks noGrp="1"/>
          </p:cNvSpPr>
          <p:nvPr>
            <p:ph type="ctrTitle" hasCustomPrompt="1"/>
          </p:nvPr>
        </p:nvSpPr>
        <p:spPr>
          <a:xfrm>
            <a:off x="1582057" y="3093294"/>
            <a:ext cx="9027886" cy="761747"/>
          </a:xfrm>
        </p:spPr>
        <p:txBody>
          <a:bodyPr anchor="b"/>
          <a:lstStyle>
            <a:lvl1pPr algn="ctr">
              <a:defRPr sz="5500">
                <a:solidFill>
                  <a:schemeClr val="bg1"/>
                </a:solidFill>
              </a:defRPr>
            </a:lvl1pPr>
          </a:lstStyle>
          <a:p>
            <a:r>
              <a:rPr lang="nl-NL" dirty="0"/>
              <a:t>‘Quote of tekst’</a:t>
            </a:r>
          </a:p>
        </p:txBody>
      </p:sp>
      <p:sp>
        <p:nvSpPr>
          <p:cNvPr id="13" name="Ondertitel 2">
            <a:extLst>
              <a:ext uri="{FF2B5EF4-FFF2-40B4-BE49-F238E27FC236}">
                <a16:creationId xmlns:a16="http://schemas.microsoft.com/office/drawing/2014/main" id="{402C04E2-C174-4F50-A08B-C9B7F196C484}"/>
              </a:ext>
            </a:extLst>
          </p:cNvPr>
          <p:cNvSpPr>
            <a:spLocks noGrp="1"/>
          </p:cNvSpPr>
          <p:nvPr>
            <p:ph type="subTitle" idx="1" hasCustomPrompt="1"/>
          </p:nvPr>
        </p:nvSpPr>
        <p:spPr>
          <a:xfrm>
            <a:off x="1582057" y="4112306"/>
            <a:ext cx="9027886" cy="453586"/>
          </a:xfrm>
        </p:spPr>
        <p:txBody>
          <a:bodyPr wrap="square">
            <a:spAutoFit/>
          </a:bodyPr>
          <a:lstStyle>
            <a:lvl1pPr marL="0" indent="0" algn="ctr">
              <a:buNone/>
              <a:defRPr sz="2600">
                <a:solidFill>
                  <a:schemeClr val="bg1"/>
                </a:solidFill>
                <a:latin typeface="+mn-lt"/>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 of naam</a:t>
            </a:r>
          </a:p>
        </p:txBody>
      </p:sp>
      <p:grpSp>
        <p:nvGrpSpPr>
          <p:cNvPr id="20" name="Group 19">
            <a:extLst>
              <a:ext uri="{FF2B5EF4-FFF2-40B4-BE49-F238E27FC236}">
                <a16:creationId xmlns:a16="http://schemas.microsoft.com/office/drawing/2014/main" id="{BA9A2C47-A74F-4BE1-B8A2-F0A410E3398B}"/>
              </a:ext>
            </a:extLst>
          </p:cNvPr>
          <p:cNvGrpSpPr/>
          <p:nvPr userDrawn="1"/>
        </p:nvGrpSpPr>
        <p:grpSpPr>
          <a:xfrm>
            <a:off x="-1949449" y="2241549"/>
            <a:ext cx="1835150" cy="2674712"/>
            <a:chOff x="-1949449" y="2241549"/>
            <a:chExt cx="1835150" cy="2674712"/>
          </a:xfrm>
        </p:grpSpPr>
        <p:sp>
          <p:nvSpPr>
            <p:cNvPr id="21" name="TextBox 1">
              <a:extLst>
                <a:ext uri="{FF2B5EF4-FFF2-40B4-BE49-F238E27FC236}">
                  <a16:creationId xmlns:a16="http://schemas.microsoft.com/office/drawing/2014/main" id="{721CAD2D-38A0-4A55-889B-4070078F6DE3}"/>
                </a:ext>
              </a:extLst>
            </p:cNvPr>
            <p:cNvSpPr txBox="1"/>
            <p:nvPr userDrawn="1"/>
          </p:nvSpPr>
          <p:spPr>
            <a:xfrm>
              <a:off x="-1949449" y="2241549"/>
              <a:ext cx="1835150" cy="2031325"/>
            </a:xfrm>
            <a:prstGeom prst="rect">
              <a:avLst/>
            </a:prstGeom>
            <a:noFill/>
          </p:spPr>
          <p:txBody>
            <a:bodyPr wrap="square" lIns="0" tIns="0" rIns="0" bIns="0" rtlCol="0">
              <a:spAutoFit/>
            </a:bodyPr>
            <a:lstStyle/>
            <a:p>
              <a:pPr algn="l"/>
              <a:r>
                <a:rPr lang="nl-NL" sz="1100" b="1" dirty="0"/>
                <a:t>Om een foto in te voegen</a:t>
              </a:r>
            </a:p>
            <a:p>
              <a:pPr marL="171450" indent="-171450" algn="l">
                <a:buFont typeface="Karla" pitchFamily="2" charset="0"/>
                <a:buChar char="–"/>
              </a:pPr>
              <a:r>
                <a:rPr lang="nl-NL" sz="1100" dirty="0"/>
                <a:t>Verschuif het grijze vlak, zodat je bij het afbeeldingsicoon kunt</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Klik op het icoon om de afbeelding in te voegen</a:t>
              </a:r>
            </a:p>
            <a:p>
              <a:pPr marL="171450" marR="0" lvl="0" indent="-171450" algn="l" defTabSz="914400" rtl="0" eaLnBrk="1" fontAlgn="auto" latinLnBrk="0" hangingPunct="1">
                <a:lnSpc>
                  <a:spcPct val="100000"/>
                </a:lnSpc>
                <a:spcBef>
                  <a:spcPts val="0"/>
                </a:spcBef>
                <a:spcAft>
                  <a:spcPts val="0"/>
                </a:spcAft>
                <a:buClrTx/>
                <a:buSzTx/>
                <a:buFont typeface="Karla" pitchFamily="2" charset="0"/>
                <a:buChar char="–"/>
                <a:tabLst/>
                <a:defRPr/>
              </a:pPr>
              <a:r>
                <a:rPr lang="nl-NL" sz="1100" dirty="0"/>
                <a:t>Klik op Home – Slides – Reset (Start – Dia’s – Opnieuw instellen)</a:t>
              </a:r>
            </a:p>
          </p:txBody>
        </p:sp>
        <p:pic>
          <p:nvPicPr>
            <p:cNvPr id="22" name="Picture 31" descr="Afbeeldingsresultaat voor afbeeldings tijdelijke aanduiding powerpoint">
              <a:extLst>
                <a:ext uri="{FF2B5EF4-FFF2-40B4-BE49-F238E27FC236}">
                  <a16:creationId xmlns:a16="http://schemas.microsoft.com/office/drawing/2014/main" id="{1E5D525A-1C32-4B43-88CA-CDC462C5BD6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2069" t="13003" r="12284" b="17620"/>
            <a:stretch/>
          </p:blipFill>
          <p:spPr bwMode="auto">
            <a:xfrm>
              <a:off x="-1790700" y="2945607"/>
              <a:ext cx="457200" cy="455247"/>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CFF0B1B9-C105-41FF-8798-0FD016EE1F74}"/>
                </a:ext>
              </a:extLst>
            </p:cNvPr>
            <p:cNvGrpSpPr/>
            <p:nvPr userDrawn="1"/>
          </p:nvGrpSpPr>
          <p:grpSpPr>
            <a:xfrm>
              <a:off x="-1785939" y="4341019"/>
              <a:ext cx="1560968" cy="575242"/>
              <a:chOff x="-1785939" y="4341019"/>
              <a:chExt cx="1560968" cy="575242"/>
            </a:xfrm>
          </p:grpSpPr>
          <p:pic>
            <p:nvPicPr>
              <p:cNvPr id="24" name="Picture 23">
                <a:extLst>
                  <a:ext uri="{FF2B5EF4-FFF2-40B4-BE49-F238E27FC236}">
                    <a16:creationId xmlns:a16="http://schemas.microsoft.com/office/drawing/2014/main" id="{38D8E1B5-BF34-4C9F-9D0F-3AA2084A53D7}"/>
                  </a:ext>
                </a:extLst>
              </p:cNvPr>
              <p:cNvPicPr>
                <a:picLocks noChangeAspect="1"/>
              </p:cNvPicPr>
              <p:nvPr userDrawn="1"/>
            </p:nvPicPr>
            <p:blipFill rotWithShape="1">
              <a:blip r:embed="rId3"/>
              <a:srcRect t="3426" r="80208" b="84861"/>
              <a:stretch/>
            </p:blipFill>
            <p:spPr>
              <a:xfrm>
                <a:off x="-1785939" y="4341019"/>
                <a:ext cx="1555200" cy="575242"/>
              </a:xfrm>
              <a:prstGeom prst="rect">
                <a:avLst/>
              </a:prstGeom>
              <a:noFill/>
              <a:ln w="3175">
                <a:solidFill>
                  <a:schemeClr val="bg1">
                    <a:lumMod val="65000"/>
                  </a:schemeClr>
                </a:solidFill>
              </a:ln>
            </p:spPr>
          </p:pic>
          <p:sp>
            <p:nvSpPr>
              <p:cNvPr id="25" name="Rechthoek 8">
                <a:extLst>
                  <a:ext uri="{FF2B5EF4-FFF2-40B4-BE49-F238E27FC236}">
                    <a16:creationId xmlns:a16="http://schemas.microsoft.com/office/drawing/2014/main" id="{644523ED-1B11-489D-90ED-BBBCB540B1C8}"/>
                  </a:ext>
                </a:extLst>
              </p:cNvPr>
              <p:cNvSpPr/>
              <p:nvPr userDrawn="1"/>
            </p:nvSpPr>
            <p:spPr>
              <a:xfrm>
                <a:off x="-595314" y="4582542"/>
                <a:ext cx="370343" cy="13300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sz="1600" dirty="0" err="1"/>
              </a:p>
            </p:txBody>
          </p:sp>
          <p:sp>
            <p:nvSpPr>
              <p:cNvPr id="26" name="Rectangle 25">
                <a:extLst>
                  <a:ext uri="{FF2B5EF4-FFF2-40B4-BE49-F238E27FC236}">
                    <a16:creationId xmlns:a16="http://schemas.microsoft.com/office/drawing/2014/main" id="{5F8BC1E3-C924-4609-BC2A-4BE598A3F37D}"/>
                  </a:ext>
                </a:extLst>
              </p:cNvPr>
              <p:cNvSpPr/>
              <p:nvPr userDrawn="1"/>
            </p:nvSpPr>
            <p:spPr>
              <a:xfrm>
                <a:off x="-1752600" y="4495800"/>
                <a:ext cx="200025" cy="304800"/>
              </a:xfrm>
              <a:prstGeom prst="rect">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en-GB" sz="1300" dirty="0" err="1"/>
              </a:p>
            </p:txBody>
          </p:sp>
        </p:grpSp>
      </p:grpSp>
    </p:spTree>
    <p:extLst>
      <p:ext uri="{BB962C8B-B14F-4D97-AF65-F5344CB8AC3E}">
        <p14:creationId xmlns:p14="http://schemas.microsoft.com/office/powerpoint/2010/main" val="18522143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A">
    <p:bg>
      <p:bgPr>
        <a:solidFill>
          <a:schemeClr val="accent1"/>
        </a:solidFill>
        <a:effectLst/>
      </p:bgPr>
    </p:bg>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4EF792A-C7DD-49E5-93CA-59F4B205358B}"/>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5905500 w 12192000"/>
              <a:gd name="connsiteY1" fmla="*/ 1 h 6858000"/>
              <a:gd name="connsiteX2" fmla="*/ 5905500 w 12192000"/>
              <a:gd name="connsiteY2" fmla="*/ 0 h 6858000"/>
              <a:gd name="connsiteX3" fmla="*/ 12192000 w 12192000"/>
              <a:gd name="connsiteY3" fmla="*/ 0 h 6858000"/>
              <a:gd name="connsiteX4" fmla="*/ 12192000 w 12192000"/>
              <a:gd name="connsiteY4" fmla="*/ 1470661 h 6858000"/>
              <a:gd name="connsiteX5" fmla="*/ 12192000 w 12192000"/>
              <a:gd name="connsiteY5" fmla="*/ 1549400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 name="connsiteX0" fmla="*/ 0 w 12192000"/>
              <a:gd name="connsiteY0" fmla="*/ 0 h 6858000"/>
              <a:gd name="connsiteX1" fmla="*/ 5905500 w 12192000"/>
              <a:gd name="connsiteY1" fmla="*/ 1 h 6858000"/>
              <a:gd name="connsiteX2" fmla="*/ 12192000 w 12192000"/>
              <a:gd name="connsiteY2" fmla="*/ 0 h 6858000"/>
              <a:gd name="connsiteX3" fmla="*/ 12192000 w 12192000"/>
              <a:gd name="connsiteY3" fmla="*/ 1470661 h 6858000"/>
              <a:gd name="connsiteX4" fmla="*/ 12192000 w 12192000"/>
              <a:gd name="connsiteY4" fmla="*/ 1549400 h 6858000"/>
              <a:gd name="connsiteX5" fmla="*/ 12192000 w 12192000"/>
              <a:gd name="connsiteY5" fmla="*/ 6858000 h 6858000"/>
              <a:gd name="connsiteX6" fmla="*/ 3895725 w 12192000"/>
              <a:gd name="connsiteY6" fmla="*/ 6858000 h 6858000"/>
              <a:gd name="connsiteX7" fmla="*/ 1629294 w 12192000"/>
              <a:gd name="connsiteY7" fmla="*/ 5983911 h 6858000"/>
              <a:gd name="connsiteX8" fmla="*/ 849515 w 12192000"/>
              <a:gd name="connsiteY8" fmla="*/ 5983911 h 6858000"/>
              <a:gd name="connsiteX9" fmla="*/ 529362 w 12192000"/>
              <a:gd name="connsiteY9" fmla="*/ 5923299 h 6858000"/>
              <a:gd name="connsiteX10" fmla="*/ 0 w 12192000"/>
              <a:gd name="connsiteY10" fmla="*/ 5262947 h 6858000"/>
              <a:gd name="connsiteX11" fmla="*/ 0 w 12192000"/>
              <a:gd name="connsiteY11"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1549400 h 6858000"/>
              <a:gd name="connsiteX4" fmla="*/ 12192000 w 12192000"/>
              <a:gd name="connsiteY4" fmla="*/ 6858000 h 6858000"/>
              <a:gd name="connsiteX5" fmla="*/ 3895725 w 12192000"/>
              <a:gd name="connsiteY5" fmla="*/ 6858000 h 6858000"/>
              <a:gd name="connsiteX6" fmla="*/ 1629294 w 12192000"/>
              <a:gd name="connsiteY6" fmla="*/ 5983911 h 6858000"/>
              <a:gd name="connsiteX7" fmla="*/ 849515 w 12192000"/>
              <a:gd name="connsiteY7" fmla="*/ 5983911 h 6858000"/>
              <a:gd name="connsiteX8" fmla="*/ 529362 w 12192000"/>
              <a:gd name="connsiteY8" fmla="*/ 5923299 h 6858000"/>
              <a:gd name="connsiteX9" fmla="*/ 0 w 12192000"/>
              <a:gd name="connsiteY9" fmla="*/ 5262947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6858000 h 6858000"/>
              <a:gd name="connsiteX4" fmla="*/ 3895725 w 12192000"/>
              <a:gd name="connsiteY4" fmla="*/ 6858000 h 6858000"/>
              <a:gd name="connsiteX5" fmla="*/ 1629294 w 12192000"/>
              <a:gd name="connsiteY5" fmla="*/ 5983911 h 6858000"/>
              <a:gd name="connsiteX6" fmla="*/ 849515 w 12192000"/>
              <a:gd name="connsiteY6" fmla="*/ 5983911 h 6858000"/>
              <a:gd name="connsiteX7" fmla="*/ 529362 w 12192000"/>
              <a:gd name="connsiteY7" fmla="*/ 5923299 h 6858000"/>
              <a:gd name="connsiteX8" fmla="*/ 0 w 12192000"/>
              <a:gd name="connsiteY8" fmla="*/ 5262947 h 6858000"/>
              <a:gd name="connsiteX9" fmla="*/ 0 w 12192000"/>
              <a:gd name="connsiteY9"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3895725 w 12192000"/>
              <a:gd name="connsiteY3" fmla="*/ 6858000 h 6858000"/>
              <a:gd name="connsiteX4" fmla="*/ 1629294 w 12192000"/>
              <a:gd name="connsiteY4" fmla="*/ 5983911 h 6858000"/>
              <a:gd name="connsiteX5" fmla="*/ 849515 w 12192000"/>
              <a:gd name="connsiteY5" fmla="*/ 5983911 h 6858000"/>
              <a:gd name="connsiteX6" fmla="*/ 529362 w 12192000"/>
              <a:gd name="connsiteY6" fmla="*/ 5923299 h 6858000"/>
              <a:gd name="connsiteX7" fmla="*/ 0 w 12192000"/>
              <a:gd name="connsiteY7" fmla="*/ 5262947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3895725" y="6858000"/>
                </a:lnTo>
                <a:cubicBezTo>
                  <a:pt x="3283947" y="6328443"/>
                  <a:pt x="2494659" y="6003052"/>
                  <a:pt x="1629294" y="5983911"/>
                </a:cubicBezTo>
                <a:lnTo>
                  <a:pt x="849515" y="5983911"/>
                </a:lnTo>
                <a:cubicBezTo>
                  <a:pt x="735401" y="5983911"/>
                  <a:pt x="627627" y="5961580"/>
                  <a:pt x="529362" y="5923299"/>
                </a:cubicBezTo>
                <a:cubicBezTo>
                  <a:pt x="253587" y="5811645"/>
                  <a:pt x="50717" y="5562817"/>
                  <a:pt x="0" y="5262947"/>
                </a:cubicBez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lvl1pPr>
          </a:lstStyle>
          <a:p>
            <a:r>
              <a:rPr lang="nl-NL" dirty="0"/>
              <a:t>Titel van de dia</a:t>
            </a:r>
          </a:p>
        </p:txBody>
      </p:sp>
    </p:spTree>
    <p:extLst>
      <p:ext uri="{BB962C8B-B14F-4D97-AF65-F5344CB8AC3E}">
        <p14:creationId xmlns:p14="http://schemas.microsoft.com/office/powerpoint/2010/main" val="24997741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B">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4EF792A-C7DD-49E5-93CA-59F4B205358B}"/>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5905500 w 12192000"/>
              <a:gd name="connsiteY1" fmla="*/ 1 h 6858000"/>
              <a:gd name="connsiteX2" fmla="*/ 5905500 w 12192000"/>
              <a:gd name="connsiteY2" fmla="*/ 0 h 6858000"/>
              <a:gd name="connsiteX3" fmla="*/ 12192000 w 12192000"/>
              <a:gd name="connsiteY3" fmla="*/ 0 h 6858000"/>
              <a:gd name="connsiteX4" fmla="*/ 12192000 w 12192000"/>
              <a:gd name="connsiteY4" fmla="*/ 1470661 h 6858000"/>
              <a:gd name="connsiteX5" fmla="*/ 12192000 w 12192000"/>
              <a:gd name="connsiteY5" fmla="*/ 1549400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 name="connsiteX0" fmla="*/ 0 w 12192000"/>
              <a:gd name="connsiteY0" fmla="*/ 0 h 6858000"/>
              <a:gd name="connsiteX1" fmla="*/ 5905500 w 12192000"/>
              <a:gd name="connsiteY1" fmla="*/ 1 h 6858000"/>
              <a:gd name="connsiteX2" fmla="*/ 12192000 w 12192000"/>
              <a:gd name="connsiteY2" fmla="*/ 0 h 6858000"/>
              <a:gd name="connsiteX3" fmla="*/ 12192000 w 12192000"/>
              <a:gd name="connsiteY3" fmla="*/ 1470661 h 6858000"/>
              <a:gd name="connsiteX4" fmla="*/ 12192000 w 12192000"/>
              <a:gd name="connsiteY4" fmla="*/ 1549400 h 6858000"/>
              <a:gd name="connsiteX5" fmla="*/ 12192000 w 12192000"/>
              <a:gd name="connsiteY5" fmla="*/ 6858000 h 6858000"/>
              <a:gd name="connsiteX6" fmla="*/ 3895725 w 12192000"/>
              <a:gd name="connsiteY6" fmla="*/ 6858000 h 6858000"/>
              <a:gd name="connsiteX7" fmla="*/ 1629294 w 12192000"/>
              <a:gd name="connsiteY7" fmla="*/ 5983911 h 6858000"/>
              <a:gd name="connsiteX8" fmla="*/ 849515 w 12192000"/>
              <a:gd name="connsiteY8" fmla="*/ 5983911 h 6858000"/>
              <a:gd name="connsiteX9" fmla="*/ 529362 w 12192000"/>
              <a:gd name="connsiteY9" fmla="*/ 5923299 h 6858000"/>
              <a:gd name="connsiteX10" fmla="*/ 0 w 12192000"/>
              <a:gd name="connsiteY10" fmla="*/ 5262947 h 6858000"/>
              <a:gd name="connsiteX11" fmla="*/ 0 w 12192000"/>
              <a:gd name="connsiteY11"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1549400 h 6858000"/>
              <a:gd name="connsiteX4" fmla="*/ 12192000 w 12192000"/>
              <a:gd name="connsiteY4" fmla="*/ 6858000 h 6858000"/>
              <a:gd name="connsiteX5" fmla="*/ 3895725 w 12192000"/>
              <a:gd name="connsiteY5" fmla="*/ 6858000 h 6858000"/>
              <a:gd name="connsiteX6" fmla="*/ 1629294 w 12192000"/>
              <a:gd name="connsiteY6" fmla="*/ 5983911 h 6858000"/>
              <a:gd name="connsiteX7" fmla="*/ 849515 w 12192000"/>
              <a:gd name="connsiteY7" fmla="*/ 5983911 h 6858000"/>
              <a:gd name="connsiteX8" fmla="*/ 529362 w 12192000"/>
              <a:gd name="connsiteY8" fmla="*/ 5923299 h 6858000"/>
              <a:gd name="connsiteX9" fmla="*/ 0 w 12192000"/>
              <a:gd name="connsiteY9" fmla="*/ 5262947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1470661 h 6858000"/>
              <a:gd name="connsiteX3" fmla="*/ 12192000 w 12192000"/>
              <a:gd name="connsiteY3" fmla="*/ 6858000 h 6858000"/>
              <a:gd name="connsiteX4" fmla="*/ 3895725 w 12192000"/>
              <a:gd name="connsiteY4" fmla="*/ 6858000 h 6858000"/>
              <a:gd name="connsiteX5" fmla="*/ 1629294 w 12192000"/>
              <a:gd name="connsiteY5" fmla="*/ 5983911 h 6858000"/>
              <a:gd name="connsiteX6" fmla="*/ 849515 w 12192000"/>
              <a:gd name="connsiteY6" fmla="*/ 5983911 h 6858000"/>
              <a:gd name="connsiteX7" fmla="*/ 529362 w 12192000"/>
              <a:gd name="connsiteY7" fmla="*/ 5923299 h 6858000"/>
              <a:gd name="connsiteX8" fmla="*/ 0 w 12192000"/>
              <a:gd name="connsiteY8" fmla="*/ 5262947 h 6858000"/>
              <a:gd name="connsiteX9" fmla="*/ 0 w 12192000"/>
              <a:gd name="connsiteY9"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3895725 w 12192000"/>
              <a:gd name="connsiteY3" fmla="*/ 6858000 h 6858000"/>
              <a:gd name="connsiteX4" fmla="*/ 1629294 w 12192000"/>
              <a:gd name="connsiteY4" fmla="*/ 5983911 h 6858000"/>
              <a:gd name="connsiteX5" fmla="*/ 849515 w 12192000"/>
              <a:gd name="connsiteY5" fmla="*/ 5983911 h 6858000"/>
              <a:gd name="connsiteX6" fmla="*/ 529362 w 12192000"/>
              <a:gd name="connsiteY6" fmla="*/ 5923299 h 6858000"/>
              <a:gd name="connsiteX7" fmla="*/ 0 w 12192000"/>
              <a:gd name="connsiteY7" fmla="*/ 5262947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12192000" y="0"/>
                </a:lnTo>
                <a:lnTo>
                  <a:pt x="12192000" y="6858000"/>
                </a:lnTo>
                <a:lnTo>
                  <a:pt x="3895725" y="6858000"/>
                </a:lnTo>
                <a:cubicBezTo>
                  <a:pt x="3283947" y="6328443"/>
                  <a:pt x="2494659" y="6003052"/>
                  <a:pt x="1629294" y="5983911"/>
                </a:cubicBezTo>
                <a:lnTo>
                  <a:pt x="849515" y="5983911"/>
                </a:lnTo>
                <a:cubicBezTo>
                  <a:pt x="735401" y="5983911"/>
                  <a:pt x="627627" y="5961580"/>
                  <a:pt x="529362" y="5923299"/>
                </a:cubicBezTo>
                <a:cubicBezTo>
                  <a:pt x="253587" y="5811645"/>
                  <a:pt x="50717" y="5562817"/>
                  <a:pt x="0" y="5262947"/>
                </a:cubicBezTo>
                <a:lnTo>
                  <a:pt x="0" y="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3" name="Titel 2">
            <a:extLst>
              <a:ext uri="{FF2B5EF4-FFF2-40B4-BE49-F238E27FC236}">
                <a16:creationId xmlns:a16="http://schemas.microsoft.com/office/drawing/2014/main" id="{DD0C4782-5ADE-4500-B64A-0B1F7D937A7F}"/>
              </a:ext>
            </a:extLst>
          </p:cNvPr>
          <p:cNvSpPr>
            <a:spLocks noGrp="1"/>
          </p:cNvSpPr>
          <p:nvPr>
            <p:ph type="title" hasCustomPrompt="1"/>
          </p:nvPr>
        </p:nvSpPr>
        <p:spPr/>
        <p:txBody>
          <a:bodyPr/>
          <a:lstStyle>
            <a:lvl1pPr>
              <a:defRPr>
                <a:solidFill>
                  <a:schemeClr val="bg1"/>
                </a:solidFill>
              </a:defRPr>
            </a:lvl1pPr>
          </a:lstStyle>
          <a:p>
            <a:r>
              <a:rPr lang="nl-NL" dirty="0"/>
              <a:t>Titel van de dia</a:t>
            </a:r>
          </a:p>
        </p:txBody>
      </p:sp>
    </p:spTree>
    <p:extLst>
      <p:ext uri="{BB962C8B-B14F-4D97-AF65-F5344CB8AC3E}">
        <p14:creationId xmlns:p14="http://schemas.microsoft.com/office/powerpoint/2010/main" val="17670242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C">
    <p:spTree>
      <p:nvGrpSpPr>
        <p:cNvPr id="1" name=""/>
        <p:cNvGrpSpPr/>
        <p:nvPr/>
      </p:nvGrpSpPr>
      <p:grpSpPr>
        <a:xfrm>
          <a:off x="0" y="0"/>
          <a:ext cx="0" cy="0"/>
          <a:chOff x="0" y="0"/>
          <a:chExt cx="0" cy="0"/>
        </a:xfrm>
      </p:grpSpPr>
      <p:sp>
        <p:nvSpPr>
          <p:cNvPr id="241" name="Freeform: Shape 240">
            <a:extLst>
              <a:ext uri="{FF2B5EF4-FFF2-40B4-BE49-F238E27FC236}">
                <a16:creationId xmlns:a16="http://schemas.microsoft.com/office/drawing/2014/main" id="{5F8E8298-9331-435F-8613-24F347B00924}"/>
              </a:ext>
            </a:extLst>
          </p:cNvPr>
          <p:cNvSpPr>
            <a:spLocks noGrp="1"/>
          </p:cNvSpPr>
          <p:nvPr>
            <p:ph type="pic" sz="quarter" idx="13" hasCustomPrompt="1"/>
          </p:nvPr>
        </p:nvSpPr>
        <p:spPr>
          <a:xfrm>
            <a:off x="0" y="840310"/>
            <a:ext cx="12192000" cy="6017690"/>
          </a:xfrm>
          <a:custGeom>
            <a:avLst/>
            <a:gdLst>
              <a:gd name="connsiteX0" fmla="*/ 9359900 w 12192000"/>
              <a:gd name="connsiteY0" fmla="*/ 0 h 6017690"/>
              <a:gd name="connsiteX1" fmla="*/ 12192000 w 12192000"/>
              <a:gd name="connsiteY1" fmla="*/ 1178990 h 6017690"/>
              <a:gd name="connsiteX2" fmla="*/ 12192000 w 12192000"/>
              <a:gd name="connsiteY2" fmla="*/ 6017690 h 6017690"/>
              <a:gd name="connsiteX3" fmla="*/ 0 w 12192000"/>
              <a:gd name="connsiteY3" fmla="*/ 6017690 h 6017690"/>
              <a:gd name="connsiteX4" fmla="*/ 0 w 12192000"/>
              <a:gd name="connsiteY4" fmla="*/ 434533 h 6017690"/>
              <a:gd name="connsiteX5" fmla="*/ 2508250 w 12192000"/>
              <a:gd name="connsiteY5" fmla="*/ 456899 h 6017690"/>
              <a:gd name="connsiteX6" fmla="*/ 4511675 w 12192000"/>
              <a:gd name="connsiteY6" fmla="*/ 536776 h 6017690"/>
              <a:gd name="connsiteX7" fmla="*/ 9359900 w 12192000"/>
              <a:gd name="connsiteY7" fmla="*/ 0 h 601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017690">
                <a:moveTo>
                  <a:pt x="9359900" y="0"/>
                </a:moveTo>
                <a:cubicBezTo>
                  <a:pt x="10690225" y="0"/>
                  <a:pt x="11842750" y="268388"/>
                  <a:pt x="12192000" y="1178990"/>
                </a:cubicBezTo>
                <a:lnTo>
                  <a:pt x="12192000" y="6017690"/>
                </a:lnTo>
                <a:lnTo>
                  <a:pt x="0" y="6017690"/>
                </a:lnTo>
                <a:lnTo>
                  <a:pt x="0" y="434533"/>
                </a:lnTo>
                <a:cubicBezTo>
                  <a:pt x="688975" y="306729"/>
                  <a:pt x="1597025" y="383412"/>
                  <a:pt x="2508250" y="456899"/>
                </a:cubicBezTo>
                <a:cubicBezTo>
                  <a:pt x="3206750" y="514410"/>
                  <a:pt x="3905250" y="571922"/>
                  <a:pt x="4511675" y="536776"/>
                </a:cubicBezTo>
                <a:cubicBezTo>
                  <a:pt x="5445125" y="485655"/>
                  <a:pt x="7566025" y="0"/>
                  <a:pt x="9359900" y="0"/>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2" name="Title 1">
            <a:extLst>
              <a:ext uri="{FF2B5EF4-FFF2-40B4-BE49-F238E27FC236}">
                <a16:creationId xmlns:a16="http://schemas.microsoft.com/office/drawing/2014/main" id="{EB21DC7F-E4A1-444D-9B36-9919328FC655}"/>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Tree>
    <p:extLst>
      <p:ext uri="{BB962C8B-B14F-4D97-AF65-F5344CB8AC3E}">
        <p14:creationId xmlns:p14="http://schemas.microsoft.com/office/powerpoint/2010/main" val="27778654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en afbeelding 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1DC7F-E4A1-444D-9B36-9919328FC655}"/>
              </a:ext>
            </a:extLst>
          </p:cNvPr>
          <p:cNvSpPr>
            <a:spLocks noGrp="1"/>
          </p:cNvSpPr>
          <p:nvPr>
            <p:ph type="title" hasCustomPrompt="1"/>
          </p:nvPr>
        </p:nvSpPr>
        <p:spPr/>
        <p:txBody>
          <a:bodyPr/>
          <a:lstStyle>
            <a:lvl1pPr>
              <a:defRPr/>
            </a:lvl1pPr>
          </a:lstStyle>
          <a:p>
            <a:r>
              <a:rPr lang="en-US" dirty="0" err="1"/>
              <a:t>Titel</a:t>
            </a:r>
            <a:r>
              <a:rPr lang="en-US" dirty="0"/>
              <a:t> van de </a:t>
            </a:r>
            <a:r>
              <a:rPr lang="en-US" dirty="0" err="1"/>
              <a:t>dia</a:t>
            </a:r>
            <a:endParaRPr lang="nl-NL" dirty="0"/>
          </a:p>
        </p:txBody>
      </p:sp>
      <p:sp>
        <p:nvSpPr>
          <p:cNvPr id="5" name="Tijdelijke aanduiding voor afbeelding 8">
            <a:extLst>
              <a:ext uri="{FF2B5EF4-FFF2-40B4-BE49-F238E27FC236}">
                <a16:creationId xmlns:a16="http://schemas.microsoft.com/office/drawing/2014/main" id="{CF8D5215-B0C6-4D2D-9973-80938F6B52DD}"/>
              </a:ext>
            </a:extLst>
          </p:cNvPr>
          <p:cNvSpPr>
            <a:spLocks noGrp="1"/>
          </p:cNvSpPr>
          <p:nvPr>
            <p:ph type="pic" sz="quarter" idx="14" hasCustomPrompt="1"/>
          </p:nvPr>
        </p:nvSpPr>
        <p:spPr>
          <a:xfrm>
            <a:off x="0" y="1117600"/>
            <a:ext cx="12192000" cy="574039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2292652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lleen afbeelding">
    <p:bg>
      <p:bgPr>
        <a:solidFill>
          <a:schemeClr val="bg1"/>
        </a:solidFill>
        <a:effectLst/>
      </p:bgPr>
    </p:bg>
    <p:spTree>
      <p:nvGrpSpPr>
        <p:cNvPr id="1" name=""/>
        <p:cNvGrpSpPr/>
        <p:nvPr/>
      </p:nvGrpSpPr>
      <p:grpSpPr>
        <a:xfrm>
          <a:off x="0" y="0"/>
          <a:ext cx="0" cy="0"/>
          <a:chOff x="0" y="0"/>
          <a:chExt cx="0" cy="0"/>
        </a:xfrm>
      </p:grpSpPr>
      <p:sp>
        <p:nvSpPr>
          <p:cNvPr id="24" name="Tijdelijke aanduiding voor afbeelding 23">
            <a:extLst>
              <a:ext uri="{FF2B5EF4-FFF2-40B4-BE49-F238E27FC236}">
                <a16:creationId xmlns:a16="http://schemas.microsoft.com/office/drawing/2014/main" id="{5F753A72-4DFF-4A77-A084-C86DDC1E528D}"/>
              </a:ext>
            </a:extLst>
          </p:cNvPr>
          <p:cNvSpPr>
            <a:spLocks noGrp="1"/>
          </p:cNvSpPr>
          <p:nvPr>
            <p:ph type="pic" sz="quarter" idx="12" hasCustomPrompt="1"/>
          </p:nvPr>
        </p:nvSpPr>
        <p:spPr>
          <a:xfrm>
            <a:off x="0" y="0"/>
            <a:ext cx="12192000" cy="6858000"/>
          </a:xfrm>
          <a:custGeom>
            <a:avLst/>
            <a:gdLst>
              <a:gd name="connsiteX0" fmla="*/ 0 w 12192000"/>
              <a:gd name="connsiteY0" fmla="*/ 0 h 6858000"/>
              <a:gd name="connsiteX1" fmla="*/ 8487125 w 12192000"/>
              <a:gd name="connsiteY1" fmla="*/ 1 h 6858000"/>
              <a:gd name="connsiteX2" fmla="*/ 10530208 w 12192000"/>
              <a:gd name="connsiteY2" fmla="*/ 709754 h 6858000"/>
              <a:gd name="connsiteX3" fmla="*/ 11337273 w 12192000"/>
              <a:gd name="connsiteY3" fmla="*/ 709754 h 6858000"/>
              <a:gd name="connsiteX4" fmla="*/ 11658193 w 12192000"/>
              <a:gd name="connsiteY4" fmla="*/ 773696 h 6858000"/>
              <a:gd name="connsiteX5" fmla="*/ 12192000 w 12192000"/>
              <a:gd name="connsiteY5" fmla="*/ 1470661 h 6858000"/>
              <a:gd name="connsiteX6" fmla="*/ 12192000 w 12192000"/>
              <a:gd name="connsiteY6" fmla="*/ 6858000 h 6858000"/>
              <a:gd name="connsiteX7" fmla="*/ 3895725 w 12192000"/>
              <a:gd name="connsiteY7" fmla="*/ 6858000 h 6858000"/>
              <a:gd name="connsiteX8" fmla="*/ 1629294 w 12192000"/>
              <a:gd name="connsiteY8" fmla="*/ 5983911 h 6858000"/>
              <a:gd name="connsiteX9" fmla="*/ 849515 w 12192000"/>
              <a:gd name="connsiteY9" fmla="*/ 5983911 h 6858000"/>
              <a:gd name="connsiteX10" fmla="*/ 529362 w 12192000"/>
              <a:gd name="connsiteY10" fmla="*/ 5923299 h 6858000"/>
              <a:gd name="connsiteX11" fmla="*/ 0 w 12192000"/>
              <a:gd name="connsiteY11"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8487125" y="1"/>
                </a:lnTo>
                <a:cubicBezTo>
                  <a:pt x="9062238" y="428411"/>
                  <a:pt x="9767626" y="690572"/>
                  <a:pt x="10530208" y="709754"/>
                </a:cubicBezTo>
                <a:lnTo>
                  <a:pt x="11337273" y="709754"/>
                </a:lnTo>
                <a:cubicBezTo>
                  <a:pt x="11448483" y="709754"/>
                  <a:pt x="11556516" y="732134"/>
                  <a:pt x="11658193" y="773696"/>
                </a:cubicBezTo>
                <a:cubicBezTo>
                  <a:pt x="11944161" y="888791"/>
                  <a:pt x="12153871" y="1154150"/>
                  <a:pt x="12192000" y="1470661"/>
                </a:cubicBezTo>
                <a:lnTo>
                  <a:pt x="12192000"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143224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ee afbeeldingen">
    <p:bg>
      <p:bgPr>
        <a:solidFill>
          <a:schemeClr val="bg1"/>
        </a:solidFill>
        <a:effectLst/>
      </p:bgPr>
    </p:bg>
    <p:spTree>
      <p:nvGrpSpPr>
        <p:cNvPr id="1" name=""/>
        <p:cNvGrpSpPr/>
        <p:nvPr/>
      </p:nvGrpSpPr>
      <p:grpSpPr>
        <a:xfrm>
          <a:off x="0" y="0"/>
          <a:ext cx="0" cy="0"/>
          <a:chOff x="0" y="0"/>
          <a:chExt cx="0" cy="0"/>
        </a:xfrm>
      </p:grpSpPr>
      <p:sp>
        <p:nvSpPr>
          <p:cNvPr id="7" name="Tijdelijke aanduiding voor afbeelding 6">
            <a:extLst>
              <a:ext uri="{FF2B5EF4-FFF2-40B4-BE49-F238E27FC236}">
                <a16:creationId xmlns:a16="http://schemas.microsoft.com/office/drawing/2014/main" id="{4C00D79C-2F31-424F-81FB-F277DF3B8E98}"/>
              </a:ext>
            </a:extLst>
          </p:cNvPr>
          <p:cNvSpPr>
            <a:spLocks noGrp="1"/>
          </p:cNvSpPr>
          <p:nvPr>
            <p:ph type="pic" sz="quarter" idx="12" hasCustomPrompt="1"/>
          </p:nvPr>
        </p:nvSpPr>
        <p:spPr>
          <a:xfrm>
            <a:off x="6183190" y="2"/>
            <a:ext cx="6008811" cy="6857999"/>
          </a:xfrm>
          <a:custGeom>
            <a:avLst/>
            <a:gdLst>
              <a:gd name="connsiteX0" fmla="*/ 0 w 6008811"/>
              <a:gd name="connsiteY0" fmla="*/ 0 h 6857999"/>
              <a:gd name="connsiteX1" fmla="*/ 2303936 w 6008811"/>
              <a:gd name="connsiteY1" fmla="*/ 0 h 6857999"/>
              <a:gd name="connsiteX2" fmla="*/ 4347019 w 6008811"/>
              <a:gd name="connsiteY2" fmla="*/ 709753 h 6857999"/>
              <a:gd name="connsiteX3" fmla="*/ 5154084 w 6008811"/>
              <a:gd name="connsiteY3" fmla="*/ 709753 h 6857999"/>
              <a:gd name="connsiteX4" fmla="*/ 5475004 w 6008811"/>
              <a:gd name="connsiteY4" fmla="*/ 773695 h 6857999"/>
              <a:gd name="connsiteX5" fmla="*/ 6008811 w 6008811"/>
              <a:gd name="connsiteY5" fmla="*/ 1470660 h 6857999"/>
              <a:gd name="connsiteX6" fmla="*/ 6008811 w 6008811"/>
              <a:gd name="connsiteY6" fmla="*/ 6857999 h 6857999"/>
              <a:gd name="connsiteX7" fmla="*/ 0 w 6008811"/>
              <a:gd name="connsiteY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1" h="6857999">
                <a:moveTo>
                  <a:pt x="0" y="0"/>
                </a:moveTo>
                <a:lnTo>
                  <a:pt x="2303936" y="0"/>
                </a:lnTo>
                <a:cubicBezTo>
                  <a:pt x="2879049" y="428410"/>
                  <a:pt x="3584437" y="690571"/>
                  <a:pt x="4347019" y="709753"/>
                </a:cubicBezTo>
                <a:lnTo>
                  <a:pt x="5154084" y="709753"/>
                </a:lnTo>
                <a:cubicBezTo>
                  <a:pt x="5265294" y="709753"/>
                  <a:pt x="5373327" y="732133"/>
                  <a:pt x="5475004" y="773695"/>
                </a:cubicBezTo>
                <a:cubicBezTo>
                  <a:pt x="5760972" y="888790"/>
                  <a:pt x="5970682" y="1154149"/>
                  <a:pt x="6008811" y="1470660"/>
                </a:cubicBezTo>
                <a:lnTo>
                  <a:pt x="6008811" y="6857999"/>
                </a:lnTo>
                <a:lnTo>
                  <a:pt x="0" y="6857999"/>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9" name="Tijdelijke aanduiding voor afbeelding 8">
            <a:extLst>
              <a:ext uri="{FF2B5EF4-FFF2-40B4-BE49-F238E27FC236}">
                <a16:creationId xmlns:a16="http://schemas.microsoft.com/office/drawing/2014/main" id="{63A6948D-424E-4B66-B5EB-E78D47C72BF2}"/>
              </a:ext>
            </a:extLst>
          </p:cNvPr>
          <p:cNvSpPr>
            <a:spLocks noGrp="1"/>
          </p:cNvSpPr>
          <p:nvPr>
            <p:ph type="pic" sz="quarter" idx="13" hasCustomPrompt="1"/>
          </p:nvPr>
        </p:nvSpPr>
        <p:spPr>
          <a:xfrm>
            <a:off x="0" y="0"/>
            <a:ext cx="6008814" cy="6858000"/>
          </a:xfrm>
          <a:custGeom>
            <a:avLst/>
            <a:gdLst>
              <a:gd name="connsiteX0" fmla="*/ 0 w 6008814"/>
              <a:gd name="connsiteY0" fmla="*/ 0 h 6858000"/>
              <a:gd name="connsiteX1" fmla="*/ 6008814 w 6008814"/>
              <a:gd name="connsiteY1" fmla="*/ 1 h 6858000"/>
              <a:gd name="connsiteX2" fmla="*/ 6008814 w 6008814"/>
              <a:gd name="connsiteY2" fmla="*/ 6858000 h 6858000"/>
              <a:gd name="connsiteX3" fmla="*/ 3895725 w 6008814"/>
              <a:gd name="connsiteY3" fmla="*/ 6858000 h 6858000"/>
              <a:gd name="connsiteX4" fmla="*/ 1629294 w 6008814"/>
              <a:gd name="connsiteY4" fmla="*/ 5983911 h 6858000"/>
              <a:gd name="connsiteX5" fmla="*/ 849515 w 6008814"/>
              <a:gd name="connsiteY5" fmla="*/ 5983911 h 6858000"/>
              <a:gd name="connsiteX6" fmla="*/ 529362 w 6008814"/>
              <a:gd name="connsiteY6" fmla="*/ 5923299 h 6858000"/>
              <a:gd name="connsiteX7" fmla="*/ 0 w 6008814"/>
              <a:gd name="connsiteY7"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6858000">
                <a:moveTo>
                  <a:pt x="0" y="0"/>
                </a:moveTo>
                <a:lnTo>
                  <a:pt x="6008814" y="1"/>
                </a:lnTo>
                <a:lnTo>
                  <a:pt x="6008814"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Tree>
    <p:extLst>
      <p:ext uri="{BB962C8B-B14F-4D97-AF65-F5344CB8AC3E}">
        <p14:creationId xmlns:p14="http://schemas.microsoft.com/office/powerpoint/2010/main" val="890898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rie afbeeldingen A">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63A6948D-424E-4B66-B5EB-E78D47C72BF2}"/>
              </a:ext>
            </a:extLst>
          </p:cNvPr>
          <p:cNvSpPr>
            <a:spLocks noGrp="1"/>
          </p:cNvSpPr>
          <p:nvPr>
            <p:ph type="pic" sz="quarter" idx="13" hasCustomPrompt="1"/>
          </p:nvPr>
        </p:nvSpPr>
        <p:spPr>
          <a:xfrm>
            <a:off x="0" y="0"/>
            <a:ext cx="6008814" cy="6858000"/>
          </a:xfrm>
          <a:custGeom>
            <a:avLst/>
            <a:gdLst>
              <a:gd name="connsiteX0" fmla="*/ 0 w 6008814"/>
              <a:gd name="connsiteY0" fmla="*/ 0 h 6858000"/>
              <a:gd name="connsiteX1" fmla="*/ 6008814 w 6008814"/>
              <a:gd name="connsiteY1" fmla="*/ 1 h 6858000"/>
              <a:gd name="connsiteX2" fmla="*/ 6008814 w 6008814"/>
              <a:gd name="connsiteY2" fmla="*/ 6858000 h 6858000"/>
              <a:gd name="connsiteX3" fmla="*/ 3895725 w 6008814"/>
              <a:gd name="connsiteY3" fmla="*/ 6858000 h 6858000"/>
              <a:gd name="connsiteX4" fmla="*/ 1629294 w 6008814"/>
              <a:gd name="connsiteY4" fmla="*/ 5983911 h 6858000"/>
              <a:gd name="connsiteX5" fmla="*/ 849515 w 6008814"/>
              <a:gd name="connsiteY5" fmla="*/ 5983911 h 6858000"/>
              <a:gd name="connsiteX6" fmla="*/ 529362 w 6008814"/>
              <a:gd name="connsiteY6" fmla="*/ 5923299 h 6858000"/>
              <a:gd name="connsiteX7" fmla="*/ 0 w 6008814"/>
              <a:gd name="connsiteY7" fmla="*/ 526294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6858000">
                <a:moveTo>
                  <a:pt x="0" y="0"/>
                </a:moveTo>
                <a:lnTo>
                  <a:pt x="6008814" y="1"/>
                </a:lnTo>
                <a:lnTo>
                  <a:pt x="6008814" y="6858000"/>
                </a:lnTo>
                <a:lnTo>
                  <a:pt x="3895725" y="6858000"/>
                </a:lnTo>
                <a:cubicBezTo>
                  <a:pt x="3283947" y="6328443"/>
                  <a:pt x="2494659" y="6003052"/>
                  <a:pt x="1629294" y="5983911"/>
                </a:cubicBezTo>
                <a:cubicBezTo>
                  <a:pt x="1629294" y="5983911"/>
                  <a:pt x="1629294" y="5983911"/>
                  <a:pt x="849515" y="5983911"/>
                </a:cubicBezTo>
                <a:cubicBezTo>
                  <a:pt x="735401" y="5983911"/>
                  <a:pt x="627627" y="5961580"/>
                  <a:pt x="529362" y="5923299"/>
                </a:cubicBezTo>
                <a:cubicBezTo>
                  <a:pt x="253587" y="5811645"/>
                  <a:pt x="50717" y="5562817"/>
                  <a:pt x="0" y="5262947"/>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8" name="Tijdelijke aanduiding voor afbeelding 7">
            <a:extLst>
              <a:ext uri="{FF2B5EF4-FFF2-40B4-BE49-F238E27FC236}">
                <a16:creationId xmlns:a16="http://schemas.microsoft.com/office/drawing/2014/main" id="{9A697090-8B5C-4D58-9CA1-2544BC03A3C2}"/>
              </a:ext>
            </a:extLst>
          </p:cNvPr>
          <p:cNvSpPr>
            <a:spLocks noGrp="1"/>
          </p:cNvSpPr>
          <p:nvPr>
            <p:ph type="pic" sz="quarter" idx="14" hasCustomPrompt="1"/>
          </p:nvPr>
        </p:nvSpPr>
        <p:spPr>
          <a:xfrm>
            <a:off x="6183600"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1" name="Tijdelijke aanduiding voor afbeelding 10">
            <a:extLst>
              <a:ext uri="{FF2B5EF4-FFF2-40B4-BE49-F238E27FC236}">
                <a16:creationId xmlns:a16="http://schemas.microsoft.com/office/drawing/2014/main" id="{B088EFC6-9819-4E1C-ACB4-67EBCD6F8DE7}"/>
              </a:ext>
            </a:extLst>
          </p:cNvPr>
          <p:cNvSpPr>
            <a:spLocks noGrp="1"/>
          </p:cNvSpPr>
          <p:nvPr>
            <p:ph type="pic" sz="quarter" idx="16" hasCustomPrompt="1"/>
          </p:nvPr>
        </p:nvSpPr>
        <p:spPr>
          <a:xfrm>
            <a:off x="618360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2204315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dia Wit &amp; logo's">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FDF89716-8C57-449C-A566-B9D4115922D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sp>
        <p:nvSpPr>
          <p:cNvPr id="2" name="Titel 1">
            <a:extLst>
              <a:ext uri="{FF2B5EF4-FFF2-40B4-BE49-F238E27FC236}">
                <a16:creationId xmlns:a16="http://schemas.microsoft.com/office/drawing/2014/main" id="{438EC585-E339-46B3-BEE0-BF47C5B06519}"/>
              </a:ext>
            </a:extLst>
          </p:cNvPr>
          <p:cNvSpPr>
            <a:spLocks noGrp="1"/>
          </p:cNvSpPr>
          <p:nvPr>
            <p:ph type="ctrTitle" hasCustomPrompt="1"/>
          </p:nvPr>
        </p:nvSpPr>
        <p:spPr>
          <a:xfrm>
            <a:off x="1055688" y="2001094"/>
            <a:ext cx="6300000" cy="761747"/>
          </a:xfrm>
        </p:spPr>
        <p:txBody>
          <a:bodyPr anchor="b"/>
          <a:lstStyle>
            <a:lvl1pPr algn="l">
              <a:defRPr sz="5500">
                <a:solidFill>
                  <a:schemeClr val="accent1"/>
                </a:solidFill>
              </a:defRPr>
            </a:lvl1pPr>
          </a:lstStyle>
          <a:p>
            <a:r>
              <a:rPr lang="nl-NL" dirty="0"/>
              <a:t>Presentatietitel</a:t>
            </a:r>
          </a:p>
        </p:txBody>
      </p:sp>
      <p:sp>
        <p:nvSpPr>
          <p:cNvPr id="3" name="Ondertitel 2">
            <a:extLst>
              <a:ext uri="{FF2B5EF4-FFF2-40B4-BE49-F238E27FC236}">
                <a16:creationId xmlns:a16="http://schemas.microsoft.com/office/drawing/2014/main" id="{BE1391DD-B72C-4433-BD2F-78CF150153A3}"/>
              </a:ext>
            </a:extLst>
          </p:cNvPr>
          <p:cNvSpPr>
            <a:spLocks noGrp="1"/>
          </p:cNvSpPr>
          <p:nvPr>
            <p:ph type="subTitle" idx="1" hasCustomPrompt="1"/>
          </p:nvPr>
        </p:nvSpPr>
        <p:spPr>
          <a:xfrm>
            <a:off x="1055688" y="2788331"/>
            <a:ext cx="6300000" cy="447623"/>
          </a:xfrm>
        </p:spPr>
        <p:txBody>
          <a:bodyPr wrap="square">
            <a:spAutoFit/>
          </a:bodyPr>
          <a:lstStyle>
            <a:lvl1pPr marL="0" indent="0" algn="l">
              <a:buNone/>
              <a:defRPr sz="2600">
                <a:solidFill>
                  <a:schemeClr val="accent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18" name="Tijdelijke aanduiding voor tekst 17">
            <a:extLst>
              <a:ext uri="{FF2B5EF4-FFF2-40B4-BE49-F238E27FC236}">
                <a16:creationId xmlns:a16="http://schemas.microsoft.com/office/drawing/2014/main" id="{B7EC46B6-5CEA-4158-BE5B-5D22BD22529A}"/>
              </a:ext>
            </a:extLst>
          </p:cNvPr>
          <p:cNvSpPr>
            <a:spLocks noGrp="1"/>
          </p:cNvSpPr>
          <p:nvPr>
            <p:ph type="body" sz="quarter" idx="10" hasCustomPrompt="1"/>
          </p:nvPr>
        </p:nvSpPr>
        <p:spPr>
          <a:xfrm>
            <a:off x="8076313" y="3967046"/>
            <a:ext cx="3060000" cy="314060"/>
          </a:xfrm>
        </p:spPr>
        <p:txBody>
          <a:bodyPr>
            <a:spAutoFit/>
          </a:bodyPr>
          <a:lstStyle>
            <a:lvl1pPr marL="0" indent="0" algn="r">
              <a:buFont typeface="Arial" panose="020B0604020202020204" pitchFamily="34" charset="0"/>
              <a:buNone/>
              <a:defRPr sz="1800">
                <a:solidFill>
                  <a:schemeClr val="accent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9" name="Tijdelijke aanduiding voor tekst 17">
            <a:extLst>
              <a:ext uri="{FF2B5EF4-FFF2-40B4-BE49-F238E27FC236}">
                <a16:creationId xmlns:a16="http://schemas.microsoft.com/office/drawing/2014/main" id="{38121E5E-C3BE-4DEA-B01D-82E8517A89C7}"/>
              </a:ext>
            </a:extLst>
          </p:cNvPr>
          <p:cNvSpPr>
            <a:spLocks noGrp="1"/>
          </p:cNvSpPr>
          <p:nvPr>
            <p:ph type="body" sz="quarter" idx="11" hasCustomPrompt="1"/>
          </p:nvPr>
        </p:nvSpPr>
        <p:spPr>
          <a:xfrm>
            <a:off x="8076313" y="4825689"/>
            <a:ext cx="3060000" cy="314060"/>
          </a:xfrm>
        </p:spPr>
        <p:txBody>
          <a:bodyPr>
            <a:spAutoFit/>
          </a:bodyPr>
          <a:lstStyle>
            <a:lvl1pPr marL="0" indent="0" algn="r">
              <a:buFont typeface="Arial" panose="020B0604020202020204" pitchFamily="34" charset="0"/>
              <a:buNone/>
              <a:defRPr sz="1800">
                <a:solidFill>
                  <a:schemeClr val="accent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Datum</a:t>
            </a:r>
          </a:p>
        </p:txBody>
      </p:sp>
      <p:pic>
        <p:nvPicPr>
          <p:cNvPr id="6" name="Afbeelding 5">
            <a:extLst>
              <a:ext uri="{FF2B5EF4-FFF2-40B4-BE49-F238E27FC236}">
                <a16:creationId xmlns:a16="http://schemas.microsoft.com/office/drawing/2014/main" id="{A37E08C6-4CA7-4EB9-9F4A-DFC4A12E0A0A}"/>
              </a:ext>
            </a:extLst>
          </p:cNvPr>
          <p:cNvPicPr>
            <a:picLocks noChangeAspect="1"/>
          </p:cNvPicPr>
          <p:nvPr userDrawn="1"/>
        </p:nvPicPr>
        <p:blipFill>
          <a:blip r:embed="rId2"/>
          <a:stretch>
            <a:fillRect/>
          </a:stretch>
        </p:blipFill>
        <p:spPr>
          <a:xfrm>
            <a:off x="1055688" y="5822044"/>
            <a:ext cx="2516187" cy="432705"/>
          </a:xfrm>
          <a:prstGeom prst="rect">
            <a:avLst/>
          </a:prstGeom>
        </p:spPr>
      </p:pic>
      <p:sp>
        <p:nvSpPr>
          <p:cNvPr id="13" name="Freeform 5">
            <a:extLst>
              <a:ext uri="{FF2B5EF4-FFF2-40B4-BE49-F238E27FC236}">
                <a16:creationId xmlns:a16="http://schemas.microsoft.com/office/drawing/2014/main" id="{69153D0D-C295-4E6A-B4FD-F45B4F9E6B37}"/>
              </a:ext>
            </a:extLst>
          </p:cNvPr>
          <p:cNvSpPr>
            <a:spLocks/>
          </p:cNvSpPr>
          <p:nvPr userDrawn="1"/>
        </p:nvSpPr>
        <p:spPr bwMode="auto">
          <a:xfrm>
            <a:off x="0" y="2501900"/>
            <a:ext cx="1346243" cy="3511550"/>
          </a:xfrm>
          <a:custGeom>
            <a:avLst/>
            <a:gdLst>
              <a:gd name="T0" fmla="*/ 0 w 419"/>
              <a:gd name="T1" fmla="*/ 0 h 1100"/>
              <a:gd name="T2" fmla="*/ 0 w 419"/>
              <a:gd name="T3" fmla="*/ 1100 h 1100"/>
              <a:gd name="T4" fmla="*/ 0 w 419"/>
              <a:gd name="T5" fmla="*/ 0 h 1100"/>
            </a:gdLst>
            <a:ahLst/>
            <a:cxnLst>
              <a:cxn ang="0">
                <a:pos x="T0" y="T1"/>
              </a:cxn>
              <a:cxn ang="0">
                <a:pos x="T2" y="T3"/>
              </a:cxn>
              <a:cxn ang="0">
                <a:pos x="T4" y="T5"/>
              </a:cxn>
            </a:cxnLst>
            <a:rect l="0" t="0" r="r" b="b"/>
            <a:pathLst>
              <a:path w="419" h="1100">
                <a:moveTo>
                  <a:pt x="0" y="0"/>
                </a:moveTo>
                <a:cubicBezTo>
                  <a:pt x="0" y="1100"/>
                  <a:pt x="0" y="1100"/>
                  <a:pt x="0" y="1100"/>
                </a:cubicBezTo>
                <a:cubicBezTo>
                  <a:pt x="419" y="843"/>
                  <a:pt x="289" y="351"/>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nl-NL"/>
          </a:p>
        </p:txBody>
      </p:sp>
      <p:sp>
        <p:nvSpPr>
          <p:cNvPr id="17" name="Tijdelijke aanduiding voor afbeelding 8">
            <a:extLst>
              <a:ext uri="{FF2B5EF4-FFF2-40B4-BE49-F238E27FC236}">
                <a16:creationId xmlns:a16="http://schemas.microsoft.com/office/drawing/2014/main" id="{7D1A9125-F25B-49F8-ABEB-AE08B8AB8611}"/>
              </a:ext>
            </a:extLst>
          </p:cNvPr>
          <p:cNvSpPr>
            <a:spLocks noGrp="1"/>
          </p:cNvSpPr>
          <p:nvPr>
            <p:ph type="pic" sz="quarter" idx="14" hasCustomPrompt="1"/>
          </p:nvPr>
        </p:nvSpPr>
        <p:spPr>
          <a:xfrm>
            <a:off x="4260851"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dirty="0"/>
              <a:t>Klik icoon om logo in te voegen</a:t>
            </a:r>
          </a:p>
        </p:txBody>
      </p:sp>
      <p:sp>
        <p:nvSpPr>
          <p:cNvPr id="20" name="Tijdelijke aanduiding voor afbeelding 8">
            <a:extLst>
              <a:ext uri="{FF2B5EF4-FFF2-40B4-BE49-F238E27FC236}">
                <a16:creationId xmlns:a16="http://schemas.microsoft.com/office/drawing/2014/main" id="{FE1DC2FA-CFA8-4C2D-B7FC-D32AACD0B9E7}"/>
              </a:ext>
            </a:extLst>
          </p:cNvPr>
          <p:cNvSpPr>
            <a:spLocks noGrp="1"/>
          </p:cNvSpPr>
          <p:nvPr>
            <p:ph type="pic" sz="quarter" idx="15" hasCustomPrompt="1"/>
          </p:nvPr>
        </p:nvSpPr>
        <p:spPr>
          <a:xfrm>
            <a:off x="6778626"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dirty="0"/>
              <a:t>Klik icoon om logo in te voegen</a:t>
            </a:r>
          </a:p>
        </p:txBody>
      </p:sp>
      <p:sp>
        <p:nvSpPr>
          <p:cNvPr id="21" name="Tijdelijke aanduiding voor afbeelding 8">
            <a:extLst>
              <a:ext uri="{FF2B5EF4-FFF2-40B4-BE49-F238E27FC236}">
                <a16:creationId xmlns:a16="http://schemas.microsoft.com/office/drawing/2014/main" id="{53AEC348-C7F6-43A3-92E8-0204EA53A270}"/>
              </a:ext>
            </a:extLst>
          </p:cNvPr>
          <p:cNvSpPr>
            <a:spLocks noGrp="1"/>
          </p:cNvSpPr>
          <p:nvPr>
            <p:ph type="pic" sz="quarter" idx="16" hasCustomPrompt="1"/>
          </p:nvPr>
        </p:nvSpPr>
        <p:spPr>
          <a:xfrm>
            <a:off x="9296401" y="5819774"/>
            <a:ext cx="1839912" cy="435769"/>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noFill/>
        </p:spPr>
        <p:txBody>
          <a:bodyPr wrap="square" tIns="0" bIns="0" anchor="ctr" anchorCtr="1">
            <a:noAutofit/>
          </a:bodyPr>
          <a:lstStyle>
            <a:lvl1pPr marL="0" indent="0" algn="ctr">
              <a:buFont typeface="Arial" panose="020B0604020202020204" pitchFamily="34" charset="0"/>
              <a:buNone/>
              <a:defRPr sz="1200"/>
            </a:lvl1pPr>
          </a:lstStyle>
          <a:p>
            <a:r>
              <a:rPr lang="nl-NL" dirty="0"/>
              <a:t>Klik icoon om logo in te voegen</a:t>
            </a:r>
          </a:p>
        </p:txBody>
      </p:sp>
      <p:sp>
        <p:nvSpPr>
          <p:cNvPr id="23" name="Tekstvak 22">
            <a:extLst>
              <a:ext uri="{FF2B5EF4-FFF2-40B4-BE49-F238E27FC236}">
                <a16:creationId xmlns:a16="http://schemas.microsoft.com/office/drawing/2014/main" id="{BCAB1828-CA60-4D39-8ED9-ADBB01F94429}"/>
              </a:ext>
            </a:extLst>
          </p:cNvPr>
          <p:cNvSpPr txBox="1"/>
          <p:nvPr userDrawn="1"/>
        </p:nvSpPr>
        <p:spPr>
          <a:xfrm>
            <a:off x="-2212259" y="3894803"/>
            <a:ext cx="1692000" cy="1862048"/>
          </a:xfrm>
          <a:prstGeom prst="rect">
            <a:avLst/>
          </a:prstGeom>
          <a:noFill/>
        </p:spPr>
        <p:txBody>
          <a:bodyPr wrap="square" lIns="0" tIns="0" rIns="0" bIns="0" rtlCol="0">
            <a:spAutoFit/>
          </a:bodyPr>
          <a:lstStyle/>
          <a:p>
            <a:r>
              <a:rPr lang="nl-NL" sz="1100" dirty="0"/>
              <a:t>Wanneer een ingevoegd logo verkeerd wordt afgesneden:</a:t>
            </a:r>
          </a:p>
          <a:p>
            <a:pPr marL="177800" indent="-177800">
              <a:buFont typeface="Arial" panose="020B0604020202020204" pitchFamily="34" charset="0"/>
              <a:buChar char="•"/>
            </a:pPr>
            <a:r>
              <a:rPr lang="nl-NL" sz="1100" dirty="0"/>
              <a:t>Selecteer het logo</a:t>
            </a:r>
          </a:p>
          <a:p>
            <a:pPr marL="177800" indent="-177800">
              <a:buFont typeface="Arial" panose="020B0604020202020204" pitchFamily="34" charset="0"/>
              <a:buChar char="•"/>
            </a:pPr>
            <a:r>
              <a:rPr lang="nl-NL" sz="1100" dirty="0"/>
              <a:t>Ga in het Lint naar Picture Format – </a:t>
            </a:r>
            <a:r>
              <a:rPr lang="nl-NL" sz="1100" dirty="0" err="1"/>
              <a:t>Size</a:t>
            </a:r>
            <a:r>
              <a:rPr lang="nl-NL" sz="1100" dirty="0"/>
              <a:t> – </a:t>
            </a:r>
            <a:r>
              <a:rPr lang="nl-NL" sz="1100" dirty="0" err="1"/>
              <a:t>Crop</a:t>
            </a:r>
            <a:r>
              <a:rPr lang="nl-NL" sz="1100" dirty="0"/>
              <a:t> </a:t>
            </a:r>
            <a:br>
              <a:rPr lang="nl-NL" sz="1100" dirty="0"/>
            </a:br>
            <a:r>
              <a:rPr lang="nl-NL" sz="1100" dirty="0"/>
              <a:t>(Afbeeldingsopmaak – Grootte – Bijsnijden)</a:t>
            </a:r>
          </a:p>
          <a:p>
            <a:pPr marL="177800" indent="-177800">
              <a:buFont typeface="Arial" panose="020B0604020202020204" pitchFamily="34" charset="0"/>
              <a:buChar char="•"/>
            </a:pPr>
            <a:r>
              <a:rPr lang="nl-NL" sz="1100" dirty="0"/>
              <a:t>Kies voor Fit (Aanpassen)</a:t>
            </a:r>
          </a:p>
        </p:txBody>
      </p:sp>
      <p:grpSp>
        <p:nvGrpSpPr>
          <p:cNvPr id="7" name="Group 6">
            <a:extLst>
              <a:ext uri="{FF2B5EF4-FFF2-40B4-BE49-F238E27FC236}">
                <a16:creationId xmlns:a16="http://schemas.microsoft.com/office/drawing/2014/main" id="{6CD17359-0697-4ACA-B9A1-E111DF5DBFB1}"/>
              </a:ext>
            </a:extLst>
          </p:cNvPr>
          <p:cNvGrpSpPr/>
          <p:nvPr userDrawn="1"/>
        </p:nvGrpSpPr>
        <p:grpSpPr>
          <a:xfrm>
            <a:off x="-2212260" y="1304924"/>
            <a:ext cx="1697909" cy="2493803"/>
            <a:chOff x="10131425" y="457200"/>
            <a:chExt cx="1422400" cy="2089149"/>
          </a:xfrm>
        </p:grpSpPr>
        <p:pic>
          <p:nvPicPr>
            <p:cNvPr id="4" name="Picture 3">
              <a:extLst>
                <a:ext uri="{FF2B5EF4-FFF2-40B4-BE49-F238E27FC236}">
                  <a16:creationId xmlns:a16="http://schemas.microsoft.com/office/drawing/2014/main" id="{56AD940E-4F00-4B6A-93E2-354567F958A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147300" y="457200"/>
              <a:ext cx="1406525" cy="2089149"/>
            </a:xfrm>
            <a:prstGeom prst="rect">
              <a:avLst/>
            </a:prstGeom>
          </p:spPr>
        </p:pic>
        <p:sp>
          <p:nvSpPr>
            <p:cNvPr id="5" name="Rectangle 4">
              <a:extLst>
                <a:ext uri="{FF2B5EF4-FFF2-40B4-BE49-F238E27FC236}">
                  <a16:creationId xmlns:a16="http://schemas.microsoft.com/office/drawing/2014/main" id="{23E639FA-6A1B-4CAA-8D69-2EEAF5344D36}"/>
                </a:ext>
              </a:extLst>
            </p:cNvPr>
            <p:cNvSpPr/>
            <p:nvPr userDrawn="1"/>
          </p:nvSpPr>
          <p:spPr>
            <a:xfrm>
              <a:off x="10131425" y="1657350"/>
              <a:ext cx="917575" cy="2254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6000"/>
                </a:lnSpc>
              </a:pPr>
              <a:endParaRPr lang="nl-NL" sz="1300" dirty="0" err="1"/>
            </a:p>
          </p:txBody>
        </p:sp>
      </p:grpSp>
    </p:spTree>
    <p:extLst>
      <p:ext uri="{BB962C8B-B14F-4D97-AF65-F5344CB8AC3E}">
        <p14:creationId xmlns:p14="http://schemas.microsoft.com/office/powerpoint/2010/main" val="27641439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rie afbeeldingen B">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7D2554E0-ADD7-40C1-A906-B7A4CA807AEB}"/>
              </a:ext>
            </a:extLst>
          </p:cNvPr>
          <p:cNvSpPr>
            <a:spLocks noGrp="1"/>
          </p:cNvSpPr>
          <p:nvPr>
            <p:ph type="pic" sz="quarter" idx="13" hasCustomPrompt="1"/>
          </p:nvPr>
        </p:nvSpPr>
        <p:spPr>
          <a:xfrm>
            <a:off x="0" y="3511886"/>
            <a:ext cx="6008814" cy="3346114"/>
          </a:xfrm>
          <a:custGeom>
            <a:avLst/>
            <a:gdLst>
              <a:gd name="connsiteX0" fmla="*/ 0 w 6008814"/>
              <a:gd name="connsiteY0" fmla="*/ 0 h 3346114"/>
              <a:gd name="connsiteX1" fmla="*/ 6008814 w 6008814"/>
              <a:gd name="connsiteY1" fmla="*/ 0 h 3346114"/>
              <a:gd name="connsiteX2" fmla="*/ 6008814 w 6008814"/>
              <a:gd name="connsiteY2" fmla="*/ 3346114 h 3346114"/>
              <a:gd name="connsiteX3" fmla="*/ 3895725 w 6008814"/>
              <a:gd name="connsiteY3" fmla="*/ 3346114 h 3346114"/>
              <a:gd name="connsiteX4" fmla="*/ 1629294 w 6008814"/>
              <a:gd name="connsiteY4" fmla="*/ 2472025 h 3346114"/>
              <a:gd name="connsiteX5" fmla="*/ 849515 w 6008814"/>
              <a:gd name="connsiteY5" fmla="*/ 2472025 h 3346114"/>
              <a:gd name="connsiteX6" fmla="*/ 529362 w 6008814"/>
              <a:gd name="connsiteY6" fmla="*/ 2411413 h 3346114"/>
              <a:gd name="connsiteX7" fmla="*/ 0 w 6008814"/>
              <a:gd name="connsiteY7" fmla="*/ 1751061 h 33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3346114">
                <a:moveTo>
                  <a:pt x="0" y="0"/>
                </a:moveTo>
                <a:lnTo>
                  <a:pt x="6008814" y="0"/>
                </a:lnTo>
                <a:lnTo>
                  <a:pt x="6008814" y="3346114"/>
                </a:lnTo>
                <a:lnTo>
                  <a:pt x="3895725" y="3346114"/>
                </a:lnTo>
                <a:cubicBezTo>
                  <a:pt x="3283947" y="2816557"/>
                  <a:pt x="2494659" y="2491166"/>
                  <a:pt x="1629294" y="2472025"/>
                </a:cubicBezTo>
                <a:cubicBezTo>
                  <a:pt x="1629294" y="2472025"/>
                  <a:pt x="1629294" y="2472025"/>
                  <a:pt x="849515" y="2472025"/>
                </a:cubicBezTo>
                <a:cubicBezTo>
                  <a:pt x="735401" y="2472025"/>
                  <a:pt x="627627" y="2449694"/>
                  <a:pt x="529362" y="2411413"/>
                </a:cubicBezTo>
                <a:cubicBezTo>
                  <a:pt x="253587" y="2299759"/>
                  <a:pt x="50717" y="2050931"/>
                  <a:pt x="0" y="1751061"/>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19" name="Tijdelijke aanduiding voor afbeelding 18">
            <a:extLst>
              <a:ext uri="{FF2B5EF4-FFF2-40B4-BE49-F238E27FC236}">
                <a16:creationId xmlns:a16="http://schemas.microsoft.com/office/drawing/2014/main" id="{33794005-FC77-4260-B5AD-FF1A7E6F6D29}"/>
              </a:ext>
            </a:extLst>
          </p:cNvPr>
          <p:cNvSpPr>
            <a:spLocks noGrp="1"/>
          </p:cNvSpPr>
          <p:nvPr>
            <p:ph type="pic" sz="quarter" idx="14" hasCustomPrompt="1"/>
          </p:nvPr>
        </p:nvSpPr>
        <p:spPr>
          <a:xfrm>
            <a:off x="6183600" y="0"/>
            <a:ext cx="6008400" cy="6858000"/>
          </a:xfrm>
          <a:custGeom>
            <a:avLst/>
            <a:gdLst>
              <a:gd name="connsiteX0" fmla="*/ 0 w 6008400"/>
              <a:gd name="connsiteY0" fmla="*/ 0 h 6858000"/>
              <a:gd name="connsiteX1" fmla="*/ 6008400 w 6008400"/>
              <a:gd name="connsiteY1" fmla="*/ 0 h 6858000"/>
              <a:gd name="connsiteX2" fmla="*/ 6008400 w 6008400"/>
              <a:gd name="connsiteY2" fmla="*/ 3513600 h 6858000"/>
              <a:gd name="connsiteX3" fmla="*/ 6008400 w 6008400"/>
              <a:gd name="connsiteY3" fmla="*/ 4775200 h 6858000"/>
              <a:gd name="connsiteX4" fmla="*/ 6008400 w 6008400"/>
              <a:gd name="connsiteY4" fmla="*/ 6858000 h 6858000"/>
              <a:gd name="connsiteX5" fmla="*/ 0 w 6008400"/>
              <a:gd name="connsiteY5" fmla="*/ 6858000 h 6858000"/>
              <a:gd name="connsiteX6" fmla="*/ 0 w 6008400"/>
              <a:gd name="connsiteY6" fmla="*/ 4775200 h 6858000"/>
              <a:gd name="connsiteX7" fmla="*/ 0 w 6008400"/>
              <a:gd name="connsiteY7" fmla="*/ 3513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400" h="6858000">
                <a:moveTo>
                  <a:pt x="0" y="0"/>
                </a:moveTo>
                <a:lnTo>
                  <a:pt x="6008400" y="0"/>
                </a:lnTo>
                <a:lnTo>
                  <a:pt x="6008400" y="3513600"/>
                </a:lnTo>
                <a:lnTo>
                  <a:pt x="6008400" y="4775200"/>
                </a:lnTo>
                <a:lnTo>
                  <a:pt x="6008400" y="6858000"/>
                </a:lnTo>
                <a:lnTo>
                  <a:pt x="0" y="6858000"/>
                </a:lnTo>
                <a:lnTo>
                  <a:pt x="0" y="4775200"/>
                </a:lnTo>
                <a:lnTo>
                  <a:pt x="0" y="35136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7" name="Tijdelijke aanduiding voor afbeelding 7">
            <a:extLst>
              <a:ext uri="{FF2B5EF4-FFF2-40B4-BE49-F238E27FC236}">
                <a16:creationId xmlns:a16="http://schemas.microsoft.com/office/drawing/2014/main" id="{B5FE60AF-FA00-463C-A14B-2042A5299C6F}"/>
              </a:ext>
            </a:extLst>
          </p:cNvPr>
          <p:cNvSpPr>
            <a:spLocks noGrp="1"/>
          </p:cNvSpPr>
          <p:nvPr>
            <p:ph type="pic" sz="quarter" idx="17" hasCustomPrompt="1"/>
          </p:nvPr>
        </p:nvSpPr>
        <p:spPr>
          <a:xfrm>
            <a:off x="414"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10477872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Vier afbeeldingen">
    <p:bg>
      <p:bgPr>
        <a:solidFill>
          <a:schemeClr val="bg1"/>
        </a:solidFill>
        <a:effectLst/>
      </p:bgPr>
    </p:bg>
    <p:spTree>
      <p:nvGrpSpPr>
        <p:cNvPr id="1" name=""/>
        <p:cNvGrpSpPr/>
        <p:nvPr/>
      </p:nvGrpSpPr>
      <p:grpSpPr>
        <a:xfrm>
          <a:off x="0" y="0"/>
          <a:ext cx="0" cy="0"/>
          <a:chOff x="0" y="0"/>
          <a:chExt cx="0" cy="0"/>
        </a:xfrm>
      </p:grpSpPr>
      <p:sp>
        <p:nvSpPr>
          <p:cNvPr id="13" name="Tijdelijke aanduiding voor afbeelding 12">
            <a:extLst>
              <a:ext uri="{FF2B5EF4-FFF2-40B4-BE49-F238E27FC236}">
                <a16:creationId xmlns:a16="http://schemas.microsoft.com/office/drawing/2014/main" id="{29DBEF8A-B3E7-4DC9-95CD-CA4F8150A4AB}"/>
              </a:ext>
            </a:extLst>
          </p:cNvPr>
          <p:cNvSpPr>
            <a:spLocks noGrp="1"/>
          </p:cNvSpPr>
          <p:nvPr>
            <p:ph type="pic" sz="quarter" idx="12" hasCustomPrompt="1"/>
          </p:nvPr>
        </p:nvSpPr>
        <p:spPr>
          <a:xfrm>
            <a:off x="6183190" y="2"/>
            <a:ext cx="6008811" cy="3344398"/>
          </a:xfrm>
          <a:custGeom>
            <a:avLst/>
            <a:gdLst>
              <a:gd name="connsiteX0" fmla="*/ 0 w 6008811"/>
              <a:gd name="connsiteY0" fmla="*/ 0 h 3344398"/>
              <a:gd name="connsiteX1" fmla="*/ 2303936 w 6008811"/>
              <a:gd name="connsiteY1" fmla="*/ 0 h 3344398"/>
              <a:gd name="connsiteX2" fmla="*/ 4347019 w 6008811"/>
              <a:gd name="connsiteY2" fmla="*/ 709753 h 3344398"/>
              <a:gd name="connsiteX3" fmla="*/ 5154084 w 6008811"/>
              <a:gd name="connsiteY3" fmla="*/ 709753 h 3344398"/>
              <a:gd name="connsiteX4" fmla="*/ 5475004 w 6008811"/>
              <a:gd name="connsiteY4" fmla="*/ 773695 h 3344398"/>
              <a:gd name="connsiteX5" fmla="*/ 6008811 w 6008811"/>
              <a:gd name="connsiteY5" fmla="*/ 1470660 h 3344398"/>
              <a:gd name="connsiteX6" fmla="*/ 6008811 w 6008811"/>
              <a:gd name="connsiteY6" fmla="*/ 3344398 h 3344398"/>
              <a:gd name="connsiteX7" fmla="*/ 0 w 6008811"/>
              <a:gd name="connsiteY7" fmla="*/ 3344398 h 334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1" h="3344398">
                <a:moveTo>
                  <a:pt x="0" y="0"/>
                </a:moveTo>
                <a:lnTo>
                  <a:pt x="2303936" y="0"/>
                </a:lnTo>
                <a:cubicBezTo>
                  <a:pt x="2879049" y="428410"/>
                  <a:pt x="3584437" y="690571"/>
                  <a:pt x="4347019" y="709753"/>
                </a:cubicBezTo>
                <a:lnTo>
                  <a:pt x="5154084" y="709753"/>
                </a:lnTo>
                <a:cubicBezTo>
                  <a:pt x="5265294" y="709753"/>
                  <a:pt x="5373327" y="732133"/>
                  <a:pt x="5475004" y="773695"/>
                </a:cubicBezTo>
                <a:cubicBezTo>
                  <a:pt x="5760972" y="888790"/>
                  <a:pt x="5970682" y="1154149"/>
                  <a:pt x="6008811" y="1470660"/>
                </a:cubicBezTo>
                <a:lnTo>
                  <a:pt x="6008811" y="3344398"/>
                </a:lnTo>
                <a:lnTo>
                  <a:pt x="0" y="3344398"/>
                </a:lnTo>
                <a:close/>
              </a:path>
            </a:pathLst>
          </a:custGeom>
          <a:solidFill>
            <a:schemeClr val="bg1">
              <a:lumMod val="95000"/>
            </a:schemeClr>
          </a:solidFill>
        </p:spPr>
        <p:txBody>
          <a:bodyPr wrap="square" tIns="828000" bIns="0" anchor="ctr" anchorCtr="1">
            <a:noAutofit/>
          </a:bodyPr>
          <a:lstStyle>
            <a:lvl1pPr marL="0" indent="0">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6" name="Tijdelijke aanduiding voor afbeelding 7">
            <a:extLst>
              <a:ext uri="{FF2B5EF4-FFF2-40B4-BE49-F238E27FC236}">
                <a16:creationId xmlns:a16="http://schemas.microsoft.com/office/drawing/2014/main" id="{C2854EDB-3759-4A07-BAF4-9E2B07788B2A}"/>
              </a:ext>
            </a:extLst>
          </p:cNvPr>
          <p:cNvSpPr>
            <a:spLocks noGrp="1"/>
          </p:cNvSpPr>
          <p:nvPr>
            <p:ph type="pic" sz="quarter" idx="14" hasCustomPrompt="1"/>
          </p:nvPr>
        </p:nvSpPr>
        <p:spPr>
          <a:xfrm>
            <a:off x="0" y="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8" name="Tijdelijke aanduiding voor afbeelding 10">
            <a:extLst>
              <a:ext uri="{FF2B5EF4-FFF2-40B4-BE49-F238E27FC236}">
                <a16:creationId xmlns:a16="http://schemas.microsoft.com/office/drawing/2014/main" id="{897A6D26-5267-46A7-9DAD-5E3991E6B9DA}"/>
              </a:ext>
            </a:extLst>
          </p:cNvPr>
          <p:cNvSpPr>
            <a:spLocks noGrp="1"/>
          </p:cNvSpPr>
          <p:nvPr>
            <p:ph type="pic" sz="quarter" idx="16" hasCustomPrompt="1"/>
          </p:nvPr>
        </p:nvSpPr>
        <p:spPr>
          <a:xfrm>
            <a:off x="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4" name="Tijdelijke aanduiding voor afbeelding 10">
            <a:extLst>
              <a:ext uri="{FF2B5EF4-FFF2-40B4-BE49-F238E27FC236}">
                <a16:creationId xmlns:a16="http://schemas.microsoft.com/office/drawing/2014/main" id="{9D44FB88-BE3E-4928-B297-37E35ADADEE3}"/>
              </a:ext>
            </a:extLst>
          </p:cNvPr>
          <p:cNvSpPr>
            <a:spLocks noGrp="1"/>
          </p:cNvSpPr>
          <p:nvPr>
            <p:ph type="pic" sz="quarter" idx="17" hasCustomPrompt="1"/>
          </p:nvPr>
        </p:nvSpPr>
        <p:spPr>
          <a:xfrm>
            <a:off x="6183601"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18029142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Zes afbeeldingen">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21">
            <a:extLst>
              <a:ext uri="{FF2B5EF4-FFF2-40B4-BE49-F238E27FC236}">
                <a16:creationId xmlns:a16="http://schemas.microsoft.com/office/drawing/2014/main" id="{7D2554E0-ADD7-40C1-A906-B7A4CA807AEB}"/>
              </a:ext>
            </a:extLst>
          </p:cNvPr>
          <p:cNvSpPr>
            <a:spLocks noGrp="1"/>
          </p:cNvSpPr>
          <p:nvPr>
            <p:ph type="pic" sz="quarter" idx="13" hasCustomPrompt="1"/>
          </p:nvPr>
        </p:nvSpPr>
        <p:spPr>
          <a:xfrm>
            <a:off x="0" y="3511886"/>
            <a:ext cx="6008814" cy="3346114"/>
          </a:xfrm>
          <a:custGeom>
            <a:avLst/>
            <a:gdLst>
              <a:gd name="connsiteX0" fmla="*/ 0 w 6008814"/>
              <a:gd name="connsiteY0" fmla="*/ 0 h 3346114"/>
              <a:gd name="connsiteX1" fmla="*/ 6008814 w 6008814"/>
              <a:gd name="connsiteY1" fmla="*/ 0 h 3346114"/>
              <a:gd name="connsiteX2" fmla="*/ 6008814 w 6008814"/>
              <a:gd name="connsiteY2" fmla="*/ 3346114 h 3346114"/>
              <a:gd name="connsiteX3" fmla="*/ 3895725 w 6008814"/>
              <a:gd name="connsiteY3" fmla="*/ 3346114 h 3346114"/>
              <a:gd name="connsiteX4" fmla="*/ 1629294 w 6008814"/>
              <a:gd name="connsiteY4" fmla="*/ 2472025 h 3346114"/>
              <a:gd name="connsiteX5" fmla="*/ 849515 w 6008814"/>
              <a:gd name="connsiteY5" fmla="*/ 2472025 h 3346114"/>
              <a:gd name="connsiteX6" fmla="*/ 529362 w 6008814"/>
              <a:gd name="connsiteY6" fmla="*/ 2411413 h 3346114"/>
              <a:gd name="connsiteX7" fmla="*/ 0 w 6008814"/>
              <a:gd name="connsiteY7" fmla="*/ 1751061 h 334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08814" h="3346114">
                <a:moveTo>
                  <a:pt x="0" y="0"/>
                </a:moveTo>
                <a:lnTo>
                  <a:pt x="6008814" y="0"/>
                </a:lnTo>
                <a:lnTo>
                  <a:pt x="6008814" y="3346114"/>
                </a:lnTo>
                <a:lnTo>
                  <a:pt x="3895725" y="3346114"/>
                </a:lnTo>
                <a:cubicBezTo>
                  <a:pt x="3283947" y="2816557"/>
                  <a:pt x="2494659" y="2491166"/>
                  <a:pt x="1629294" y="2472025"/>
                </a:cubicBezTo>
                <a:cubicBezTo>
                  <a:pt x="1629294" y="2472025"/>
                  <a:pt x="1629294" y="2472025"/>
                  <a:pt x="849515" y="2472025"/>
                </a:cubicBezTo>
                <a:cubicBezTo>
                  <a:pt x="735401" y="2472025"/>
                  <a:pt x="627627" y="2449694"/>
                  <a:pt x="529362" y="2411413"/>
                </a:cubicBezTo>
                <a:cubicBezTo>
                  <a:pt x="253587" y="2299759"/>
                  <a:pt x="50717" y="2050931"/>
                  <a:pt x="0" y="1751061"/>
                </a:cubicBez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0" name="Tijdelijke aanduiding voor dianummer 9">
            <a:extLst>
              <a:ext uri="{FF2B5EF4-FFF2-40B4-BE49-F238E27FC236}">
                <a16:creationId xmlns:a16="http://schemas.microsoft.com/office/drawing/2014/main" id="{90098362-3D8F-4DCF-93CE-F1D1D3C9B346}"/>
              </a:ext>
            </a:extLst>
          </p:cNvPr>
          <p:cNvSpPr>
            <a:spLocks noGrp="1"/>
          </p:cNvSpPr>
          <p:nvPr>
            <p:ph type="sldNum" sz="quarter" idx="15"/>
          </p:nvPr>
        </p:nvSpPr>
        <p:spPr/>
        <p:txBody>
          <a:bodyPr/>
          <a:lstStyle/>
          <a:p>
            <a:fld id="{72A15134-CD64-4197-891E-7C1F921F6B1C}" type="slidenum">
              <a:rPr lang="nl-NL" smtClean="0"/>
              <a:pPr/>
              <a:t>‹nr.›</a:t>
            </a:fld>
            <a:endParaRPr lang="nl-NL"/>
          </a:p>
        </p:txBody>
      </p:sp>
      <p:sp>
        <p:nvSpPr>
          <p:cNvPr id="17" name="Tijdelijke aanduiding voor afbeelding 7">
            <a:extLst>
              <a:ext uri="{FF2B5EF4-FFF2-40B4-BE49-F238E27FC236}">
                <a16:creationId xmlns:a16="http://schemas.microsoft.com/office/drawing/2014/main" id="{B5FE60AF-FA00-463C-A14B-2042A5299C6F}"/>
              </a:ext>
            </a:extLst>
          </p:cNvPr>
          <p:cNvSpPr>
            <a:spLocks noGrp="1"/>
          </p:cNvSpPr>
          <p:nvPr>
            <p:ph type="pic" sz="quarter" idx="17" hasCustomPrompt="1"/>
          </p:nvPr>
        </p:nvSpPr>
        <p:spPr>
          <a:xfrm>
            <a:off x="413"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8" name="Tijdelijke aanduiding voor afbeelding 10">
            <a:extLst>
              <a:ext uri="{FF2B5EF4-FFF2-40B4-BE49-F238E27FC236}">
                <a16:creationId xmlns:a16="http://schemas.microsoft.com/office/drawing/2014/main" id="{8B0896FC-B282-420D-A96F-EF7C9CF3FF44}"/>
              </a:ext>
            </a:extLst>
          </p:cNvPr>
          <p:cNvSpPr>
            <a:spLocks noGrp="1"/>
          </p:cNvSpPr>
          <p:nvPr>
            <p:ph type="pic" sz="quarter" idx="16" hasCustomPrompt="1"/>
          </p:nvPr>
        </p:nvSpPr>
        <p:spPr>
          <a:xfrm>
            <a:off x="6183600" y="3513600"/>
            <a:ext cx="60084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9" name="Tijdelijke aanduiding voor afbeelding 7">
            <a:extLst>
              <a:ext uri="{FF2B5EF4-FFF2-40B4-BE49-F238E27FC236}">
                <a16:creationId xmlns:a16="http://schemas.microsoft.com/office/drawing/2014/main" id="{EB1211E0-A4E6-4263-B7E7-703AFB5B9453}"/>
              </a:ext>
            </a:extLst>
          </p:cNvPr>
          <p:cNvSpPr>
            <a:spLocks noGrp="1"/>
          </p:cNvSpPr>
          <p:nvPr>
            <p:ph type="pic" sz="quarter" idx="18" hasCustomPrompt="1"/>
          </p:nvPr>
        </p:nvSpPr>
        <p:spPr>
          <a:xfrm>
            <a:off x="3092814"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1" name="Tijdelijke aanduiding voor afbeelding 7">
            <a:extLst>
              <a:ext uri="{FF2B5EF4-FFF2-40B4-BE49-F238E27FC236}">
                <a16:creationId xmlns:a16="http://schemas.microsoft.com/office/drawing/2014/main" id="{41EA9141-98A7-41C2-BB2A-72578DD5A2B6}"/>
              </a:ext>
            </a:extLst>
          </p:cNvPr>
          <p:cNvSpPr>
            <a:spLocks noGrp="1"/>
          </p:cNvSpPr>
          <p:nvPr>
            <p:ph type="pic" sz="quarter" idx="19" hasCustomPrompt="1"/>
          </p:nvPr>
        </p:nvSpPr>
        <p:spPr>
          <a:xfrm>
            <a:off x="6183599"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
        <p:nvSpPr>
          <p:cNvPr id="14" name="Tijdelijke aanduiding voor afbeelding 7">
            <a:extLst>
              <a:ext uri="{FF2B5EF4-FFF2-40B4-BE49-F238E27FC236}">
                <a16:creationId xmlns:a16="http://schemas.microsoft.com/office/drawing/2014/main" id="{5C4454E8-722F-4564-A90F-186D91AB48BC}"/>
              </a:ext>
            </a:extLst>
          </p:cNvPr>
          <p:cNvSpPr>
            <a:spLocks noGrp="1"/>
          </p:cNvSpPr>
          <p:nvPr>
            <p:ph type="pic" sz="quarter" idx="20" hasCustomPrompt="1"/>
          </p:nvPr>
        </p:nvSpPr>
        <p:spPr>
          <a:xfrm>
            <a:off x="9276000" y="0"/>
            <a:ext cx="2916000" cy="3344400"/>
          </a:xfrm>
          <a:custGeom>
            <a:avLst/>
            <a:gdLst>
              <a:gd name="connsiteX0" fmla="*/ 0 w 5988050"/>
              <a:gd name="connsiteY0" fmla="*/ 0 h 6858000"/>
              <a:gd name="connsiteX1" fmla="*/ 5988050 w 5988050"/>
              <a:gd name="connsiteY1" fmla="*/ 0 h 6858000"/>
              <a:gd name="connsiteX2" fmla="*/ 5988050 w 5988050"/>
              <a:gd name="connsiteY2" fmla="*/ 6858000 h 6858000"/>
              <a:gd name="connsiteX3" fmla="*/ 0 w 598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988050" h="6858000">
                <a:moveTo>
                  <a:pt x="0" y="0"/>
                </a:moveTo>
                <a:lnTo>
                  <a:pt x="5988050" y="0"/>
                </a:lnTo>
                <a:lnTo>
                  <a:pt x="5988050" y="6858000"/>
                </a:lnTo>
                <a:lnTo>
                  <a:pt x="0" y="6858000"/>
                </a:lnTo>
                <a:close/>
              </a:path>
            </a:pathLst>
          </a:custGeom>
          <a:solidFill>
            <a:schemeClr val="bg1">
              <a:lumMod val="95000"/>
            </a:schemeClr>
          </a:solidFill>
        </p:spPr>
        <p:txBody>
          <a:bodyPr wrap="square" tIns="828000" bIns="0" anchor="ctr" anchorCtr="1">
            <a:noAutofit/>
          </a:bodyPr>
          <a:lstStyle>
            <a:lvl1pPr marL="0" indent="0" algn="ctr">
              <a:buFont typeface="Arial" panose="020B0604020202020204" pitchFamily="34" charset="0"/>
              <a:buNone/>
              <a:defRPr sz="2000"/>
            </a:lvl1pPr>
          </a:lstStyle>
          <a:p>
            <a:r>
              <a:rPr lang="nl-NL" dirty="0"/>
              <a:t>Klik icoon om afbeelding in te voegen</a:t>
            </a:r>
          </a:p>
        </p:txBody>
      </p:sp>
    </p:spTree>
    <p:extLst>
      <p:ext uri="{BB962C8B-B14F-4D97-AF65-F5344CB8AC3E}">
        <p14:creationId xmlns:p14="http://schemas.microsoft.com/office/powerpoint/2010/main" val="3695367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fsluiting">
    <p:bg>
      <p:bgPr>
        <a:solidFill>
          <a:schemeClr val="accent1"/>
        </a:solidFill>
        <a:effectLst/>
      </p:bgPr>
    </p:bg>
    <p:spTree>
      <p:nvGrpSpPr>
        <p:cNvPr id="1" name=""/>
        <p:cNvGrpSpPr/>
        <p:nvPr/>
      </p:nvGrpSpPr>
      <p:grpSpPr>
        <a:xfrm>
          <a:off x="0" y="0"/>
          <a:ext cx="0" cy="0"/>
          <a:chOff x="0" y="0"/>
          <a:chExt cx="0" cy="0"/>
        </a:xfrm>
      </p:grpSpPr>
      <p:sp>
        <p:nvSpPr>
          <p:cNvPr id="9" name="Freeform 5">
            <a:extLst>
              <a:ext uri="{FF2B5EF4-FFF2-40B4-BE49-F238E27FC236}">
                <a16:creationId xmlns:a16="http://schemas.microsoft.com/office/drawing/2014/main" id="{BB0D6242-6408-4F70-ABA2-E103F5EEF926}"/>
              </a:ext>
            </a:extLst>
          </p:cNvPr>
          <p:cNvSpPr>
            <a:spLocks/>
          </p:cNvSpPr>
          <p:nvPr userDrawn="1"/>
        </p:nvSpPr>
        <p:spPr bwMode="auto">
          <a:xfrm>
            <a:off x="7607300" y="0"/>
            <a:ext cx="4584700" cy="2365621"/>
          </a:xfrm>
          <a:custGeom>
            <a:avLst/>
            <a:gdLst>
              <a:gd name="T0" fmla="*/ 913 w 1435"/>
              <a:gd name="T1" fmla="*/ 505 h 737"/>
              <a:gd name="T2" fmla="*/ 1167 w 1435"/>
              <a:gd name="T3" fmla="*/ 505 h 737"/>
              <a:gd name="T4" fmla="*/ 1267 w 1435"/>
              <a:gd name="T5" fmla="*/ 524 h 737"/>
              <a:gd name="T6" fmla="*/ 1435 w 1435"/>
              <a:gd name="T7" fmla="*/ 737 h 737"/>
              <a:gd name="T8" fmla="*/ 1435 w 1435"/>
              <a:gd name="T9" fmla="*/ 0 h 737"/>
              <a:gd name="T10" fmla="*/ 0 w 1435"/>
              <a:gd name="T11" fmla="*/ 0 h 737"/>
              <a:gd name="T12" fmla="*/ 913 w 1435"/>
              <a:gd name="T13" fmla="*/ 505 h 737"/>
            </a:gdLst>
            <a:ahLst/>
            <a:cxnLst>
              <a:cxn ang="0">
                <a:pos x="T0" y="T1"/>
              </a:cxn>
              <a:cxn ang="0">
                <a:pos x="T2" y="T3"/>
              </a:cxn>
              <a:cxn ang="0">
                <a:pos x="T4" y="T5"/>
              </a:cxn>
              <a:cxn ang="0">
                <a:pos x="T6" y="T7"/>
              </a:cxn>
              <a:cxn ang="0">
                <a:pos x="T8" y="T9"/>
              </a:cxn>
              <a:cxn ang="0">
                <a:pos x="T10" y="T11"/>
              </a:cxn>
              <a:cxn ang="0">
                <a:pos x="T12" y="T13"/>
              </a:cxn>
            </a:cxnLst>
            <a:rect l="0" t="0" r="r" b="b"/>
            <a:pathLst>
              <a:path w="1435" h="737">
                <a:moveTo>
                  <a:pt x="913" y="505"/>
                </a:moveTo>
                <a:cubicBezTo>
                  <a:pt x="1167" y="505"/>
                  <a:pt x="1167" y="505"/>
                  <a:pt x="1167" y="505"/>
                </a:cubicBezTo>
                <a:cubicBezTo>
                  <a:pt x="1202" y="505"/>
                  <a:pt x="1236" y="512"/>
                  <a:pt x="1267" y="524"/>
                </a:cubicBezTo>
                <a:cubicBezTo>
                  <a:pt x="1356" y="560"/>
                  <a:pt x="1421" y="640"/>
                  <a:pt x="1435" y="737"/>
                </a:cubicBezTo>
                <a:cubicBezTo>
                  <a:pt x="1435" y="0"/>
                  <a:pt x="1435" y="0"/>
                  <a:pt x="1435" y="0"/>
                </a:cubicBezTo>
                <a:cubicBezTo>
                  <a:pt x="0" y="0"/>
                  <a:pt x="0" y="0"/>
                  <a:pt x="0" y="0"/>
                </a:cubicBezTo>
                <a:cubicBezTo>
                  <a:pt x="199" y="296"/>
                  <a:pt x="533" y="494"/>
                  <a:pt x="913" y="5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Tijdelijke aanduiding voor tekst 17">
            <a:extLst>
              <a:ext uri="{FF2B5EF4-FFF2-40B4-BE49-F238E27FC236}">
                <a16:creationId xmlns:a16="http://schemas.microsoft.com/office/drawing/2014/main" id="{942F3698-64CD-455B-A2DB-53A5B7A5303C}"/>
              </a:ext>
            </a:extLst>
          </p:cNvPr>
          <p:cNvSpPr>
            <a:spLocks noGrp="1"/>
          </p:cNvSpPr>
          <p:nvPr>
            <p:ph type="body" sz="quarter" idx="10" hasCustomPrompt="1"/>
          </p:nvPr>
        </p:nvSpPr>
        <p:spPr>
          <a:xfrm>
            <a:off x="1056388" y="4109921"/>
            <a:ext cx="3254906" cy="279179"/>
          </a:xfrm>
        </p:spPr>
        <p:txBody>
          <a:bodyPr wrap="square" anchor="b" anchorCtr="0">
            <a:spAutoFit/>
          </a:bodyPr>
          <a:lstStyle>
            <a:lvl1pPr marL="0" indent="0" algn="l">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4" name="Tijdelijke aanduiding voor tekst 17">
            <a:extLst>
              <a:ext uri="{FF2B5EF4-FFF2-40B4-BE49-F238E27FC236}">
                <a16:creationId xmlns:a16="http://schemas.microsoft.com/office/drawing/2014/main" id="{E92D746B-087E-4D83-8790-0F7BA68E467E}"/>
              </a:ext>
            </a:extLst>
          </p:cNvPr>
          <p:cNvSpPr>
            <a:spLocks noGrp="1"/>
          </p:cNvSpPr>
          <p:nvPr>
            <p:ph type="body" sz="quarter" idx="11" hasCustomPrompt="1"/>
          </p:nvPr>
        </p:nvSpPr>
        <p:spPr>
          <a:xfrm>
            <a:off x="1056388" y="4406589"/>
            <a:ext cx="3254906" cy="244298"/>
          </a:xfrm>
        </p:spPr>
        <p:txBody>
          <a:bodyPr wrap="square">
            <a:spAutoFit/>
          </a:bodyPr>
          <a:lstStyle>
            <a:lvl1pPr marL="0" indent="0" algn="l">
              <a:buFont typeface="Arial" panose="020B0604020202020204" pitchFamily="34" charset="0"/>
              <a:buNone/>
              <a:defRPr sz="14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Telefoonnummer en E-mail</a:t>
            </a:r>
          </a:p>
        </p:txBody>
      </p:sp>
      <p:sp>
        <p:nvSpPr>
          <p:cNvPr id="17" name="Tijdelijke aanduiding voor tekst 17">
            <a:extLst>
              <a:ext uri="{FF2B5EF4-FFF2-40B4-BE49-F238E27FC236}">
                <a16:creationId xmlns:a16="http://schemas.microsoft.com/office/drawing/2014/main" id="{B2C4DE21-A822-400F-8857-4B36D88D36AD}"/>
              </a:ext>
            </a:extLst>
          </p:cNvPr>
          <p:cNvSpPr>
            <a:spLocks noGrp="1"/>
          </p:cNvSpPr>
          <p:nvPr>
            <p:ph type="body" sz="quarter" idx="12" hasCustomPrompt="1"/>
          </p:nvPr>
        </p:nvSpPr>
        <p:spPr>
          <a:xfrm>
            <a:off x="5108044" y="4109921"/>
            <a:ext cx="3254906" cy="279179"/>
          </a:xfrm>
        </p:spPr>
        <p:txBody>
          <a:bodyPr wrap="square" anchor="b" anchorCtr="0">
            <a:spAutoFit/>
          </a:bodyPr>
          <a:lstStyle>
            <a:lvl1pPr marL="0" indent="0" algn="l">
              <a:buFont typeface="Arial" panose="020B0604020202020204" pitchFamily="34" charset="0"/>
              <a:buNone/>
              <a:defRPr sz="1600">
                <a:solidFill>
                  <a:schemeClr val="bg1"/>
                </a:solidFill>
                <a:latin typeface="Segoe UI Semibold" panose="020B0702040204020203" pitchFamily="34" charset="0"/>
                <a:cs typeface="Segoe UI Semibold" panose="020B0702040204020203" pitchFamily="34" charset="0"/>
              </a:defRPr>
            </a:lvl1pPr>
            <a:lvl2pPr algn="r">
              <a:defRPr/>
            </a:lvl2pPr>
            <a:lvl3pPr algn="r">
              <a:defRPr/>
            </a:lvl3pPr>
            <a:lvl4pPr algn="r">
              <a:defRPr/>
            </a:lvl4pPr>
            <a:lvl5pPr algn="r">
              <a:defRPr/>
            </a:lvl5pPr>
          </a:lstStyle>
          <a:p>
            <a:pPr lvl="0"/>
            <a:r>
              <a:rPr lang="nl-NL" dirty="0"/>
              <a:t>Naam</a:t>
            </a:r>
          </a:p>
        </p:txBody>
      </p:sp>
      <p:sp>
        <p:nvSpPr>
          <p:cNvPr id="18" name="Tijdelijke aanduiding voor tekst 17">
            <a:extLst>
              <a:ext uri="{FF2B5EF4-FFF2-40B4-BE49-F238E27FC236}">
                <a16:creationId xmlns:a16="http://schemas.microsoft.com/office/drawing/2014/main" id="{08164F95-A985-43CA-B07E-C817F70CC599}"/>
              </a:ext>
            </a:extLst>
          </p:cNvPr>
          <p:cNvSpPr>
            <a:spLocks noGrp="1"/>
          </p:cNvSpPr>
          <p:nvPr>
            <p:ph type="body" sz="quarter" idx="13" hasCustomPrompt="1"/>
          </p:nvPr>
        </p:nvSpPr>
        <p:spPr>
          <a:xfrm>
            <a:off x="5108044" y="4406589"/>
            <a:ext cx="3254906" cy="244298"/>
          </a:xfrm>
        </p:spPr>
        <p:txBody>
          <a:bodyPr wrap="square">
            <a:spAutoFit/>
          </a:bodyPr>
          <a:lstStyle>
            <a:lvl1pPr marL="0" indent="0" algn="l">
              <a:buFont typeface="Arial" panose="020B0604020202020204" pitchFamily="34" charset="0"/>
              <a:buNone/>
              <a:defRPr sz="1400">
                <a:solidFill>
                  <a:schemeClr val="bg1"/>
                </a:solidFill>
                <a:latin typeface="+mn-lt"/>
                <a:cs typeface="Segoe UI Semibold" panose="020B0702040204020203" pitchFamily="34" charset="0"/>
              </a:defRPr>
            </a:lvl1pPr>
            <a:lvl2pPr algn="r">
              <a:defRPr/>
            </a:lvl2pPr>
            <a:lvl3pPr algn="r">
              <a:defRPr/>
            </a:lvl3pPr>
            <a:lvl4pPr algn="r">
              <a:defRPr/>
            </a:lvl4pPr>
            <a:lvl5pPr algn="r">
              <a:defRPr/>
            </a:lvl5pPr>
          </a:lstStyle>
          <a:p>
            <a:pPr lvl="0"/>
            <a:r>
              <a:rPr lang="nl-NL" dirty="0"/>
              <a:t>Telefoonnummer en E-mail</a:t>
            </a:r>
          </a:p>
        </p:txBody>
      </p:sp>
      <p:sp>
        <p:nvSpPr>
          <p:cNvPr id="8" name="Tekstvak 11">
            <a:extLst>
              <a:ext uri="{FF2B5EF4-FFF2-40B4-BE49-F238E27FC236}">
                <a16:creationId xmlns:a16="http://schemas.microsoft.com/office/drawing/2014/main" id="{34C91DA1-603D-4EA3-8E2B-CEEF55E75DB2}"/>
              </a:ext>
            </a:extLst>
          </p:cNvPr>
          <p:cNvSpPr txBox="1"/>
          <p:nvPr userDrawn="1"/>
        </p:nvSpPr>
        <p:spPr>
          <a:xfrm>
            <a:off x="1055688" y="1334770"/>
            <a:ext cx="7308000" cy="2450671"/>
          </a:xfrm>
          <a:prstGeom prst="rect">
            <a:avLst/>
          </a:prstGeom>
          <a:noFill/>
        </p:spPr>
        <p:txBody>
          <a:bodyPr wrap="square" lIns="0" tIns="0" rIns="0" bIns="0" rtlCol="0">
            <a:spAutoFit/>
          </a:bodyPr>
          <a:lstStyle/>
          <a:p>
            <a:pPr rtl="0">
              <a:lnSpc>
                <a:spcPct val="126000"/>
              </a:lnSpc>
            </a:pPr>
            <a:r>
              <a:rPr lang="nl-NL" sz="1600" b="0" i="0" u="none" strike="noStrike" kern="1200" baseline="0" dirty="0" err="1">
                <a:solidFill>
                  <a:schemeClr val="bg1"/>
                </a:solidFill>
                <a:latin typeface="Segoe UI Semibold" panose="020B0702040204020203" pitchFamily="34" charset="0"/>
                <a:ea typeface="+mn-ea"/>
                <a:cs typeface="Segoe UI Semibold" panose="020B0702040204020203" pitchFamily="34" charset="0"/>
              </a:rPr>
              <a:t>TwynstraGudde</a:t>
            </a:r>
            <a:r>
              <a:rPr lang="nl-NL" sz="1600" b="0" i="0" u="none" strike="noStrike" kern="1200" baseline="0" dirty="0">
                <a:solidFill>
                  <a:schemeClr val="bg1"/>
                </a:solidFill>
                <a:latin typeface="Segoe UI Semibold" panose="020B0702040204020203" pitchFamily="34" charset="0"/>
                <a:ea typeface="+mn-ea"/>
                <a:cs typeface="Segoe UI Semibold" panose="020B0702040204020203" pitchFamily="34" charset="0"/>
              </a:rPr>
              <a:t> adviseert overheid en bedrijfsleven op veel van de grote en urgente thema’s van deze tijd. Denk aan veiligheid, diversiteit, digitale transformatie, mobiliteit, duurzaamheid, energie, financiën en gezondheid. </a:t>
            </a:r>
            <a:br>
              <a:rPr lang="nl-NL" sz="1600" b="0" i="0" u="none" strike="noStrike" kern="1200" baseline="0" dirty="0">
                <a:solidFill>
                  <a:schemeClr val="bg1"/>
                </a:solidFill>
                <a:latin typeface="Segoe UI Semibold" panose="020B0702040204020203" pitchFamily="34" charset="0"/>
                <a:ea typeface="+mn-ea"/>
                <a:cs typeface="Segoe UI Semibold" panose="020B0702040204020203" pitchFamily="34" charset="0"/>
              </a:rPr>
            </a:br>
            <a:r>
              <a:rPr lang="nl-NL" sz="1600" b="0" i="0" u="none" strike="noStrike" kern="1200" baseline="0" dirty="0">
                <a:solidFill>
                  <a:schemeClr val="bg1"/>
                </a:solidFill>
                <a:latin typeface="Segoe UI Semibold" panose="020B0702040204020203" pitchFamily="34" charset="0"/>
                <a:ea typeface="+mn-ea"/>
                <a:cs typeface="Segoe UI Semibold" panose="020B0702040204020203" pitchFamily="34" charset="0"/>
              </a:rPr>
              <a:t>We bieden onze opdrachtgevers unieke, werkbare oplossingen en brengen complexe projecten en programma’s tot een goed einde. Iets creëren van blijvende waarde, daar gaan we voor. Daardoor hebben we een directe impact op (toekomstige) maatschappelijke en economische ontwikkelingen. En dus een grote impact op morgen.</a:t>
            </a:r>
          </a:p>
        </p:txBody>
      </p:sp>
      <p:sp>
        <p:nvSpPr>
          <p:cNvPr id="10" name="Tekstvak 11">
            <a:extLst>
              <a:ext uri="{FF2B5EF4-FFF2-40B4-BE49-F238E27FC236}">
                <a16:creationId xmlns:a16="http://schemas.microsoft.com/office/drawing/2014/main" id="{6F09A381-CF26-4CC6-B23D-7732A73411A3}"/>
              </a:ext>
            </a:extLst>
          </p:cNvPr>
          <p:cNvSpPr txBox="1"/>
          <p:nvPr userDrawn="1"/>
        </p:nvSpPr>
        <p:spPr>
          <a:xfrm>
            <a:off x="8724900" y="4122704"/>
            <a:ext cx="2411412" cy="1005853"/>
          </a:xfrm>
          <a:prstGeom prst="rect">
            <a:avLst/>
          </a:prstGeom>
          <a:noFill/>
        </p:spPr>
        <p:txBody>
          <a:bodyPr wrap="square" lIns="0" tIns="0" rIns="0" bIns="0" rtlCol="0">
            <a:spAutoFit/>
          </a:bodyPr>
          <a:lstStyle/>
          <a:p>
            <a:pPr algn="r" rtl="0">
              <a:lnSpc>
                <a:spcPct val="168000"/>
              </a:lnSpc>
            </a:pPr>
            <a:r>
              <a:rPr lang="nl-NL" sz="800" b="0" i="0" u="none" strike="noStrike" kern="1200" baseline="0" dirty="0">
                <a:solidFill>
                  <a:schemeClr val="bg1"/>
                </a:solidFill>
                <a:latin typeface="+mn-lt"/>
                <a:ea typeface="+mn-ea"/>
                <a:cs typeface="Segoe UI Semibold" panose="020B0702040204020203" pitchFamily="34" charset="0"/>
              </a:rPr>
              <a:t>Alle intellectuele eigendomsrechten met </a:t>
            </a:r>
            <a:br>
              <a:rPr lang="nl-NL" sz="800" b="0" i="0" u="none" strike="noStrike" kern="1200" baseline="0" dirty="0">
                <a:solidFill>
                  <a:schemeClr val="bg1"/>
                </a:solidFill>
                <a:latin typeface="+mn-lt"/>
                <a:ea typeface="+mn-ea"/>
                <a:cs typeface="Segoe UI Semibold" panose="020B0702040204020203" pitchFamily="34" charset="0"/>
              </a:rPr>
            </a:br>
            <a:r>
              <a:rPr lang="nl-NL" sz="800" b="0" i="0" u="none" strike="noStrike" kern="1200" baseline="0" dirty="0">
                <a:solidFill>
                  <a:schemeClr val="bg1"/>
                </a:solidFill>
                <a:latin typeface="+mn-lt"/>
                <a:ea typeface="+mn-ea"/>
                <a:cs typeface="Segoe UI Semibold" panose="020B0702040204020203" pitchFamily="34" charset="0"/>
              </a:rPr>
              <a:t>betrekking tot deze presentatie berusten bij </a:t>
            </a:r>
            <a:br>
              <a:rPr lang="nl-NL" sz="800" b="0" i="0" u="none" strike="noStrike" kern="1200" baseline="0" dirty="0">
                <a:solidFill>
                  <a:schemeClr val="bg1"/>
                </a:solidFill>
                <a:latin typeface="+mn-lt"/>
                <a:ea typeface="+mn-ea"/>
                <a:cs typeface="Segoe UI Semibold" panose="020B0702040204020203" pitchFamily="34" charset="0"/>
              </a:rPr>
            </a:br>
            <a:r>
              <a:rPr lang="nl-NL" sz="800" b="0" i="0" u="none" strike="noStrike" kern="1200" baseline="0" dirty="0" err="1">
                <a:solidFill>
                  <a:schemeClr val="bg1"/>
                </a:solidFill>
                <a:latin typeface="+mn-lt"/>
                <a:ea typeface="+mn-ea"/>
                <a:cs typeface="Segoe UI Semibold" panose="020B0702040204020203" pitchFamily="34" charset="0"/>
              </a:rPr>
              <a:t>TwynstraGudde</a:t>
            </a:r>
            <a:r>
              <a:rPr lang="nl-NL" sz="800" b="0" i="0" u="none" strike="noStrike" kern="1200" baseline="0" dirty="0">
                <a:solidFill>
                  <a:schemeClr val="bg1"/>
                </a:solidFill>
                <a:latin typeface="+mn-lt"/>
                <a:ea typeface="+mn-ea"/>
                <a:cs typeface="Segoe UI Semibold" panose="020B0702040204020203" pitchFamily="34" charset="0"/>
              </a:rPr>
              <a:t>. Niets uit deze presentatie mag worden verveelvoudigd of openbaar gemaakt zonder schriftelijke toestemming van </a:t>
            </a:r>
            <a:r>
              <a:rPr lang="nl-NL" sz="800" b="0" i="0" u="none" strike="noStrike" kern="1200" baseline="0" dirty="0" err="1">
                <a:solidFill>
                  <a:schemeClr val="bg1"/>
                </a:solidFill>
                <a:latin typeface="+mn-lt"/>
                <a:ea typeface="+mn-ea"/>
                <a:cs typeface="Segoe UI Semibold" panose="020B0702040204020203" pitchFamily="34" charset="0"/>
              </a:rPr>
              <a:t>TwynstraGudde</a:t>
            </a:r>
            <a:r>
              <a:rPr lang="nl-NL" sz="800" b="0" i="0" u="none" strike="noStrike" kern="1200" baseline="0" dirty="0">
                <a:solidFill>
                  <a:schemeClr val="bg1"/>
                </a:solidFill>
                <a:latin typeface="+mn-lt"/>
                <a:ea typeface="+mn-ea"/>
                <a:cs typeface="Segoe UI Semibold" panose="020B0702040204020203" pitchFamily="34" charset="0"/>
              </a:rPr>
              <a:t>.</a:t>
            </a:r>
          </a:p>
        </p:txBody>
      </p:sp>
      <p:pic>
        <p:nvPicPr>
          <p:cNvPr id="11" name="Afbeelding 5">
            <a:extLst>
              <a:ext uri="{FF2B5EF4-FFF2-40B4-BE49-F238E27FC236}">
                <a16:creationId xmlns:a16="http://schemas.microsoft.com/office/drawing/2014/main" id="{587DEF7E-EDF0-46F6-83F5-51D2B6C7D6AA}"/>
              </a:ext>
            </a:extLst>
          </p:cNvPr>
          <p:cNvPicPr>
            <a:picLocks noChangeAspect="1"/>
          </p:cNvPicPr>
          <p:nvPr userDrawn="1"/>
        </p:nvPicPr>
        <p:blipFill>
          <a:blip r:embed="rId2"/>
          <a:stretch>
            <a:fillRect/>
          </a:stretch>
        </p:blipFill>
        <p:spPr>
          <a:xfrm>
            <a:off x="1055688" y="5768724"/>
            <a:ext cx="3118069" cy="540000"/>
          </a:xfrm>
          <a:prstGeom prst="rect">
            <a:avLst/>
          </a:prstGeom>
        </p:spPr>
      </p:pic>
      <p:pic>
        <p:nvPicPr>
          <p:cNvPr id="12" name="Afbeelding 6">
            <a:extLst>
              <a:ext uri="{FF2B5EF4-FFF2-40B4-BE49-F238E27FC236}">
                <a16:creationId xmlns:a16="http://schemas.microsoft.com/office/drawing/2014/main" id="{6F5FA559-5BF9-4E49-BE9E-0075A34F98BF}"/>
              </a:ext>
            </a:extLst>
          </p:cNvPr>
          <p:cNvPicPr>
            <a:picLocks noChangeAspect="1"/>
          </p:cNvPicPr>
          <p:nvPr userDrawn="1"/>
        </p:nvPicPr>
        <p:blipFill>
          <a:blip r:embed="rId3"/>
          <a:stretch>
            <a:fillRect/>
          </a:stretch>
        </p:blipFill>
        <p:spPr>
          <a:xfrm>
            <a:off x="8705717" y="5931578"/>
            <a:ext cx="2430596" cy="270000"/>
          </a:xfrm>
          <a:prstGeom prst="rect">
            <a:avLst/>
          </a:prstGeom>
        </p:spPr>
      </p:pic>
    </p:spTree>
    <p:extLst>
      <p:ext uri="{BB962C8B-B14F-4D97-AF65-F5344CB8AC3E}">
        <p14:creationId xmlns:p14="http://schemas.microsoft.com/office/powerpoint/2010/main" val="11530105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2CB041-9F88-4E2F-AEA9-4744B0C18556}"/>
              </a:ext>
            </a:extLst>
          </p:cNvPr>
          <p:cNvSpPr>
            <a:spLocks noGrp="1"/>
          </p:cNvSpPr>
          <p:nvPr>
            <p:ph type="title" hasCustomPrompt="1"/>
          </p:nvPr>
        </p:nvSpPr>
        <p:spPr>
          <a:xfrm>
            <a:off x="1055688" y="501650"/>
            <a:ext cx="10080626" cy="443198"/>
          </a:xfrm>
        </p:spPr>
        <p:txBody>
          <a:bodyPr/>
          <a:lstStyle>
            <a:lvl1pPr>
              <a:defRPr/>
            </a:lvl1pPr>
          </a:lstStyle>
          <a:p>
            <a:r>
              <a:rPr lang="nl-NL" dirty="0"/>
              <a:t>Titel van de dia</a:t>
            </a:r>
          </a:p>
        </p:txBody>
      </p:sp>
      <p:sp>
        <p:nvSpPr>
          <p:cNvPr id="4" name="Tijdelijke aanduiding voor voettekst 3">
            <a:extLst>
              <a:ext uri="{FF2B5EF4-FFF2-40B4-BE49-F238E27FC236}">
                <a16:creationId xmlns:a16="http://schemas.microsoft.com/office/drawing/2014/main" id="{459A0991-B88D-4BC1-9D1E-160CFB4D46BC}"/>
              </a:ext>
            </a:extLst>
          </p:cNvPr>
          <p:cNvSpPr>
            <a:spLocks noGrp="1"/>
          </p:cNvSpPr>
          <p:nvPr>
            <p:ph type="ftr" sz="quarter" idx="11"/>
          </p:nvPr>
        </p:nvSpPr>
        <p:spPr/>
        <p:txBody>
          <a:bodyPr/>
          <a:lstStyle/>
          <a:p>
            <a:r>
              <a:rPr lang="nl-NL"/>
              <a:t>Naam van de presentatie invullen via Invoegen - Koptekst en voettekst</a:t>
            </a:r>
          </a:p>
        </p:txBody>
      </p:sp>
      <p:sp>
        <p:nvSpPr>
          <p:cNvPr id="5" name="Tijdelijke aanduiding voor dianummer 4">
            <a:extLst>
              <a:ext uri="{FF2B5EF4-FFF2-40B4-BE49-F238E27FC236}">
                <a16:creationId xmlns:a16="http://schemas.microsoft.com/office/drawing/2014/main" id="{0794CECE-7C0A-43AE-987A-D439CCC2B1C0}"/>
              </a:ext>
            </a:extLst>
          </p:cNvPr>
          <p:cNvSpPr>
            <a:spLocks noGrp="1"/>
          </p:cNvSpPr>
          <p:nvPr>
            <p:ph type="sldNum" sz="quarter" idx="12"/>
          </p:nvPr>
        </p:nvSpPr>
        <p:spPr/>
        <p:txBody>
          <a:bodyPr/>
          <a:lstStyle/>
          <a:p>
            <a:fld id="{72A15134-CD64-4197-891E-7C1F921F6B1C}" type="slidenum">
              <a:rPr lang="nl-NL" smtClean="0"/>
              <a:t>‹nr.›</a:t>
            </a:fld>
            <a:endParaRPr lang="nl-NL"/>
          </a:p>
        </p:txBody>
      </p:sp>
    </p:spTree>
    <p:extLst>
      <p:ext uri="{BB962C8B-B14F-4D97-AF65-F5344CB8AC3E}">
        <p14:creationId xmlns:p14="http://schemas.microsoft.com/office/powerpoint/2010/main" val="19811920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Uitleg template">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AA16AC94-DED1-4C4D-AA33-662987FF33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1055688" y="2324099"/>
            <a:ext cx="1581185" cy="3870000"/>
          </a:xfrm>
          <a:prstGeom prst="rect">
            <a:avLst/>
          </a:prstGeom>
          <a:ln>
            <a:solidFill>
              <a:schemeClr val="bg2">
                <a:lumMod val="85000"/>
              </a:schemeClr>
            </a:solidFill>
          </a:ln>
        </p:spPr>
      </p:pic>
      <p:pic>
        <p:nvPicPr>
          <p:cNvPr id="45" name="Picture 10">
            <a:extLst>
              <a:ext uri="{FF2B5EF4-FFF2-40B4-BE49-F238E27FC236}">
                <a16:creationId xmlns:a16="http://schemas.microsoft.com/office/drawing/2014/main" id="{E197E41B-7F62-449D-A150-5259801241D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2667" r="3422" b="2248"/>
          <a:stretch/>
        </p:blipFill>
        <p:spPr>
          <a:xfrm>
            <a:off x="1055688" y="1789978"/>
            <a:ext cx="684212" cy="517457"/>
          </a:xfrm>
          <a:prstGeom prst="rect">
            <a:avLst/>
          </a:prstGeom>
          <a:ln>
            <a:solidFill>
              <a:schemeClr val="bg2">
                <a:lumMod val="85000"/>
              </a:schemeClr>
            </a:solidFill>
          </a:ln>
        </p:spPr>
      </p:pic>
      <p:pic>
        <p:nvPicPr>
          <p:cNvPr id="1026" name="Picture 2" descr="Screenshot of PowerPoint 2013">
            <a:extLst>
              <a:ext uri="{FF2B5EF4-FFF2-40B4-BE49-F238E27FC236}">
                <a16:creationId xmlns:a16="http://schemas.microsoft.com/office/drawing/2014/main" id="{55FA4E93-4849-4C3E-BDA7-5B531C9F17A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62680" t="16276" r="29415" b="50261"/>
          <a:stretch/>
        </p:blipFill>
        <p:spPr bwMode="auto">
          <a:xfrm>
            <a:off x="10769601" y="3955255"/>
            <a:ext cx="366712" cy="611983"/>
          </a:xfrm>
          <a:prstGeom prst="rect">
            <a:avLst/>
          </a:prstGeom>
          <a:ln>
            <a:solidFill>
              <a:schemeClr val="bg2">
                <a:lumMod val="85000"/>
              </a:schemeClr>
            </a:solidFill>
          </a:ln>
          <a:effectLst/>
          <a:extLst>
            <a:ext uri="{909E8E84-426E-40DD-AFC4-6F175D3DCCD1}">
              <a14:hiddenFill xmlns:a14="http://schemas.microsoft.com/office/drawing/2010/main">
                <a:solidFill>
                  <a:srgbClr val="FFFFFF"/>
                </a:solidFill>
              </a14:hiddenFill>
            </a:ext>
          </a:extLst>
        </p:spPr>
      </p:pic>
      <p:sp>
        <p:nvSpPr>
          <p:cNvPr id="7" name="Content Placeholder 3">
            <a:extLst>
              <a:ext uri="{FF2B5EF4-FFF2-40B4-BE49-F238E27FC236}">
                <a16:creationId xmlns:a16="http://schemas.microsoft.com/office/drawing/2014/main" id="{C6106458-BD4B-4561-AEE6-EA77A2BF6B51}"/>
              </a:ext>
            </a:extLst>
          </p:cNvPr>
          <p:cNvSpPr txBox="1">
            <a:spLocks/>
          </p:cNvSpPr>
          <p:nvPr userDrawn="1"/>
        </p:nvSpPr>
        <p:spPr>
          <a:xfrm>
            <a:off x="1055688" y="1196975"/>
            <a:ext cx="4638448" cy="52565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dirty="0">
                <a:solidFill>
                  <a:schemeClr val="tx2"/>
                </a:solidFill>
                <a:latin typeface="+mn-lt"/>
              </a:rPr>
              <a:t>Nieuwe dia’s invoegen en dia-indelingen wijzigen</a:t>
            </a:r>
            <a:endParaRPr lang="nl-NL" sz="1200" noProof="0" dirty="0">
              <a:solidFill>
                <a:schemeClr val="tx2"/>
              </a:solidFill>
              <a:latin typeface="+mn-lt"/>
            </a:endParaRPr>
          </a:p>
          <a:p>
            <a:pPr marL="0" indent="0">
              <a:lnSpc>
                <a:spcPct val="105000"/>
              </a:lnSpc>
              <a:spcAft>
                <a:spcPts val="0"/>
              </a:spcAft>
              <a:buFontTx/>
              <a:buNone/>
            </a:pPr>
            <a:r>
              <a:rPr lang="nl-NL" sz="1050" noProof="0" dirty="0">
                <a:solidFill>
                  <a:schemeClr val="tx2"/>
                </a:solidFill>
                <a:latin typeface="+mn-lt"/>
              </a:rPr>
              <a:t>Wanneer je een </a:t>
            </a:r>
            <a:r>
              <a:rPr lang="nl-NL" sz="1050" b="1" noProof="0" dirty="0">
                <a:solidFill>
                  <a:schemeClr val="tx2"/>
                </a:solidFill>
                <a:latin typeface="+mn-lt"/>
              </a:rPr>
              <a:t>nieuwe presentatie </a:t>
            </a:r>
            <a:r>
              <a:rPr lang="nl-NL" sz="1050" noProof="0" dirty="0">
                <a:solidFill>
                  <a:schemeClr val="tx2"/>
                </a:solidFill>
                <a:latin typeface="+mn-lt"/>
              </a:rPr>
              <a:t>start, staan hierin een aantal basis-dia’s. Deze zijn aan te vullen met diverse andere dia’s (44 in totaal):</a:t>
            </a:r>
          </a:p>
        </p:txBody>
      </p:sp>
      <p:sp>
        <p:nvSpPr>
          <p:cNvPr id="8" name="Content Placeholder 3">
            <a:extLst>
              <a:ext uri="{FF2B5EF4-FFF2-40B4-BE49-F238E27FC236}">
                <a16:creationId xmlns:a16="http://schemas.microsoft.com/office/drawing/2014/main" id="{73695CFF-A710-4C5F-9CBC-51AC86B1745C}"/>
              </a:ext>
            </a:extLst>
          </p:cNvPr>
          <p:cNvSpPr txBox="1">
            <a:spLocks/>
          </p:cNvSpPr>
          <p:nvPr userDrawn="1"/>
        </p:nvSpPr>
        <p:spPr>
          <a:xfrm>
            <a:off x="2930100" y="1812925"/>
            <a:ext cx="2718225" cy="3890296"/>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158" indent="-176158">
              <a:lnSpc>
                <a:spcPct val="105000"/>
              </a:lnSpc>
              <a:spcAft>
                <a:spcPts val="0"/>
              </a:spcAft>
              <a:buSzPct val="100000"/>
              <a:buFont typeface="+mj-lt"/>
              <a:buAutoNum type="arabicPeriod"/>
            </a:pPr>
            <a:r>
              <a:rPr lang="nl-NL" sz="1050" noProof="0" dirty="0">
                <a:solidFill>
                  <a:schemeClr val="tx2"/>
                </a:solidFill>
                <a:latin typeface="+mn-lt"/>
              </a:rPr>
              <a:t>Klik op het tabblad </a:t>
            </a:r>
            <a:r>
              <a:rPr lang="nl-NL" sz="1050" b="1" noProof="0" dirty="0">
                <a:solidFill>
                  <a:schemeClr val="tx2"/>
                </a:solidFill>
                <a:latin typeface="+mn-lt"/>
              </a:rPr>
              <a:t>Home</a:t>
            </a:r>
            <a:r>
              <a:rPr lang="nl-NL" sz="1050" noProof="0" dirty="0">
                <a:solidFill>
                  <a:schemeClr val="tx2"/>
                </a:solidFill>
                <a:latin typeface="+mn-lt"/>
              </a:rPr>
              <a:t> op </a:t>
            </a:r>
            <a:r>
              <a:rPr lang="nl-NL" sz="1050" b="1" noProof="0" dirty="0">
                <a:solidFill>
                  <a:schemeClr val="tx2"/>
                </a:solidFill>
                <a:latin typeface="+mn-lt"/>
              </a:rPr>
              <a:t>New Slide</a:t>
            </a:r>
            <a:r>
              <a:rPr lang="nl-NL" sz="1050" noProof="0" dirty="0">
                <a:solidFill>
                  <a:schemeClr val="tx2"/>
                </a:solidFill>
                <a:latin typeface="+mn-lt"/>
              </a:rPr>
              <a:t> (onder het dia pictogram) (Start – Nieuwe Dia). Hierdoor worden de indelingsopties weergegeven. </a:t>
            </a:r>
          </a:p>
          <a:p>
            <a:pPr marL="176158" indent="-176158">
              <a:lnSpc>
                <a:spcPct val="105000"/>
              </a:lnSpc>
              <a:spcAft>
                <a:spcPts val="0"/>
              </a:spcAft>
              <a:buSzPct val="100000"/>
              <a:buFont typeface="+mj-lt"/>
              <a:buAutoNum type="arabicPeriod"/>
            </a:pP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r>
              <a:rPr lang="nl-NL" sz="1050" noProof="0" dirty="0">
                <a:solidFill>
                  <a:schemeClr val="tx2"/>
                </a:solidFill>
                <a:latin typeface="+mn-lt"/>
              </a:rPr>
              <a:t>Klik op een</a:t>
            </a:r>
            <a:r>
              <a:rPr lang="nl-NL" sz="1050" b="1" noProof="0" dirty="0">
                <a:solidFill>
                  <a:schemeClr val="tx2"/>
                </a:solidFill>
                <a:latin typeface="+mn-lt"/>
              </a:rPr>
              <a:t> </a:t>
            </a:r>
            <a:r>
              <a:rPr lang="nl-NL" sz="1050" b="1" noProof="0" dirty="0" err="1">
                <a:solidFill>
                  <a:schemeClr val="tx2"/>
                </a:solidFill>
                <a:latin typeface="+mn-lt"/>
              </a:rPr>
              <a:t>Layout</a:t>
            </a:r>
            <a:r>
              <a:rPr lang="nl-NL" sz="1050" b="1" noProof="0" dirty="0">
                <a:solidFill>
                  <a:schemeClr val="tx2"/>
                </a:solidFill>
                <a:latin typeface="+mn-lt"/>
              </a:rPr>
              <a:t> </a:t>
            </a:r>
            <a:r>
              <a:rPr lang="nl-NL" sz="1050" b="0" noProof="0" dirty="0">
                <a:solidFill>
                  <a:schemeClr val="tx2"/>
                </a:solidFill>
                <a:latin typeface="+mn-lt"/>
              </a:rPr>
              <a:t>(</a:t>
            </a:r>
            <a:r>
              <a:rPr lang="nl-NL" sz="1050" b="0" noProof="0" dirty="0" err="1">
                <a:solidFill>
                  <a:schemeClr val="tx2"/>
                </a:solidFill>
                <a:latin typeface="+mn-lt"/>
              </a:rPr>
              <a:t>Diaindeling</a:t>
            </a:r>
            <a:r>
              <a:rPr lang="nl-NL" sz="1050" b="0" noProof="0" dirty="0">
                <a:solidFill>
                  <a:schemeClr val="tx2"/>
                </a:solidFill>
                <a:latin typeface="+mn-lt"/>
              </a:rPr>
              <a:t>) </a:t>
            </a:r>
            <a:r>
              <a:rPr lang="nl-NL" sz="1050" noProof="0" dirty="0">
                <a:solidFill>
                  <a:schemeClr val="tx2"/>
                </a:solidFill>
                <a:latin typeface="+mn-lt"/>
              </a:rPr>
              <a:t>van je keuze om deze in te voegen. Je voegt dan een ‘lege’ dia in, waarop je je eigen inhoud kunt invullen. De namen geven een omschrijving van de dia die je invoegt, bijvoorbeeld of de tekst over 1, 2 of 3 kolommen loopt</a:t>
            </a:r>
            <a:endParaRPr lang="nl-NL" sz="1050" b="1" noProof="0" dirty="0">
              <a:solidFill>
                <a:schemeClr val="tx2"/>
              </a:solidFill>
              <a:latin typeface="+mn-lt"/>
            </a:endParaRPr>
          </a:p>
          <a:p>
            <a:pPr marL="176158" indent="-176158">
              <a:lnSpc>
                <a:spcPct val="105000"/>
              </a:lnSpc>
              <a:spcAft>
                <a:spcPts val="0"/>
              </a:spcAft>
              <a:buSzPct val="100000"/>
              <a:buFont typeface="+mj-lt"/>
              <a:buAutoNum type="arabicPeriod"/>
            </a:pP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r>
              <a:rPr lang="nl-NL" sz="1050" noProof="0" dirty="0">
                <a:solidFill>
                  <a:schemeClr val="tx2"/>
                </a:solidFill>
                <a:latin typeface="+mn-lt"/>
              </a:rPr>
              <a:t>De indeling van een dia veranderen:</a:t>
            </a:r>
          </a:p>
          <a:p>
            <a:pPr marL="358775" lvl="1" indent="-180975">
              <a:lnSpc>
                <a:spcPct val="105000"/>
              </a:lnSpc>
              <a:spcAft>
                <a:spcPts val="0"/>
              </a:spcAft>
              <a:buSzPct val="100000"/>
              <a:buFont typeface="Lato" panose="020F0502020204030203" pitchFamily="34" charset="0"/>
              <a:buChar char="–"/>
            </a:pPr>
            <a:r>
              <a:rPr lang="nl-NL" sz="1050" noProof="0" dirty="0">
                <a:solidFill>
                  <a:schemeClr val="tx2"/>
                </a:solidFill>
                <a:latin typeface="+mn-lt"/>
              </a:rPr>
              <a:t>Klik op het tabblad </a:t>
            </a:r>
            <a:r>
              <a:rPr lang="nl-NL" sz="1050" b="1" noProof="0" dirty="0">
                <a:solidFill>
                  <a:schemeClr val="tx2"/>
                </a:solidFill>
                <a:latin typeface="+mn-lt"/>
              </a:rPr>
              <a:t>Home</a:t>
            </a:r>
            <a:r>
              <a:rPr lang="nl-NL" sz="1050" noProof="0" dirty="0">
                <a:solidFill>
                  <a:schemeClr val="tx2"/>
                </a:solidFill>
                <a:latin typeface="+mn-lt"/>
              </a:rPr>
              <a:t> op </a:t>
            </a:r>
            <a:r>
              <a:rPr lang="nl-NL" sz="1050" b="1" noProof="0" dirty="0" err="1">
                <a:solidFill>
                  <a:schemeClr val="tx2"/>
                </a:solidFill>
                <a:latin typeface="+mn-lt"/>
              </a:rPr>
              <a:t>Layout</a:t>
            </a:r>
            <a:r>
              <a:rPr lang="nl-NL" sz="1050" noProof="0" dirty="0">
                <a:solidFill>
                  <a:schemeClr val="tx2"/>
                </a:solidFill>
                <a:latin typeface="+mn-lt"/>
              </a:rPr>
              <a:t>.</a:t>
            </a:r>
          </a:p>
          <a:p>
            <a:pPr marL="358775" lvl="1" indent="-180975">
              <a:lnSpc>
                <a:spcPct val="105000"/>
              </a:lnSpc>
              <a:spcAft>
                <a:spcPts val="0"/>
              </a:spcAft>
              <a:buSzPct val="100000"/>
              <a:buFont typeface="Lato" panose="020F0502020204030203" pitchFamily="34" charset="0"/>
              <a:buChar char="–"/>
            </a:pPr>
            <a:r>
              <a:rPr lang="nl-NL" sz="1050" noProof="0" dirty="0">
                <a:solidFill>
                  <a:schemeClr val="tx2"/>
                </a:solidFill>
                <a:latin typeface="+mn-lt"/>
              </a:rPr>
              <a:t>Kies een andere Indeling</a:t>
            </a:r>
            <a:r>
              <a:rPr lang="nl-NL" sz="1050" baseline="0" noProof="0" dirty="0">
                <a:solidFill>
                  <a:schemeClr val="tx2"/>
                </a:solidFill>
                <a:latin typeface="+mn-lt"/>
              </a:rPr>
              <a:t> uit de lijst en deze wordt toegepast</a:t>
            </a: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endParaRPr lang="nl-NL" sz="1050" noProof="0" dirty="0">
              <a:solidFill>
                <a:schemeClr val="tx2"/>
              </a:solidFill>
              <a:latin typeface="+mn-lt"/>
            </a:endParaRPr>
          </a:p>
          <a:p>
            <a:pPr marL="176158" indent="-176158">
              <a:lnSpc>
                <a:spcPct val="105000"/>
              </a:lnSpc>
              <a:spcAft>
                <a:spcPts val="0"/>
              </a:spcAft>
              <a:buSzPct val="100000"/>
              <a:buFont typeface="+mj-lt"/>
              <a:buAutoNum type="arabicPeriod"/>
            </a:pPr>
            <a:r>
              <a:rPr lang="nl-NL" sz="1050" noProof="0" dirty="0">
                <a:solidFill>
                  <a:schemeClr val="tx2"/>
                </a:solidFill>
                <a:latin typeface="+mn-lt"/>
              </a:rPr>
              <a:t>De </a:t>
            </a:r>
            <a:r>
              <a:rPr lang="nl-NL" sz="1050" b="1" noProof="0" dirty="0">
                <a:solidFill>
                  <a:schemeClr val="tx2"/>
                </a:solidFill>
                <a:latin typeface="+mn-lt"/>
              </a:rPr>
              <a:t>Reset</a:t>
            </a:r>
            <a:r>
              <a:rPr lang="nl-NL" sz="1050" b="0" noProof="0" dirty="0">
                <a:solidFill>
                  <a:schemeClr val="tx2"/>
                </a:solidFill>
                <a:latin typeface="+mn-lt"/>
              </a:rPr>
              <a:t> (Opnieuw</a:t>
            </a:r>
            <a:r>
              <a:rPr lang="nl-NL" sz="1050" b="0" baseline="0" noProof="0" dirty="0">
                <a:solidFill>
                  <a:schemeClr val="tx2"/>
                </a:solidFill>
                <a:latin typeface="+mn-lt"/>
              </a:rPr>
              <a:t> instellen) </a:t>
            </a:r>
            <a:r>
              <a:rPr lang="nl-NL" sz="1050" noProof="0" dirty="0">
                <a:solidFill>
                  <a:schemeClr val="tx2"/>
                </a:solidFill>
                <a:latin typeface="+mn-lt"/>
              </a:rPr>
              <a:t>knop past de huidige indeling opnieuw toe.  Dit gebruik je bijvoorbeeld als </a:t>
            </a:r>
            <a:r>
              <a:rPr lang="nl-NL" sz="1050" noProof="0" dirty="0" err="1">
                <a:solidFill>
                  <a:schemeClr val="tx2"/>
                </a:solidFill>
                <a:latin typeface="+mn-lt"/>
              </a:rPr>
              <a:t>diatitels</a:t>
            </a:r>
            <a:r>
              <a:rPr lang="nl-NL" sz="1050" noProof="0" dirty="0">
                <a:solidFill>
                  <a:schemeClr val="tx2"/>
                </a:solidFill>
                <a:latin typeface="+mn-lt"/>
              </a:rPr>
              <a:t> zijn verschoven, of een afbeelding niet goed in de </a:t>
            </a:r>
            <a:r>
              <a:rPr lang="nl-NL" sz="1050" noProof="0" dirty="0" err="1">
                <a:solidFill>
                  <a:schemeClr val="tx2"/>
                </a:solidFill>
                <a:latin typeface="+mn-lt"/>
              </a:rPr>
              <a:t>afbeeldingsplaceholder</a:t>
            </a:r>
            <a:r>
              <a:rPr lang="nl-NL" sz="1050" noProof="0" dirty="0">
                <a:solidFill>
                  <a:schemeClr val="tx2"/>
                </a:solidFill>
                <a:latin typeface="+mn-lt"/>
              </a:rPr>
              <a:t> staat</a:t>
            </a:r>
          </a:p>
        </p:txBody>
      </p:sp>
      <p:sp>
        <p:nvSpPr>
          <p:cNvPr id="9" name="Oval 1">
            <a:extLst>
              <a:ext uri="{FF2B5EF4-FFF2-40B4-BE49-F238E27FC236}">
                <a16:creationId xmlns:a16="http://schemas.microsoft.com/office/drawing/2014/main" id="{237DEDED-8152-44F9-B752-F480495811A1}"/>
              </a:ext>
            </a:extLst>
          </p:cNvPr>
          <p:cNvSpPr/>
          <p:nvPr userDrawn="1"/>
        </p:nvSpPr>
        <p:spPr>
          <a:xfrm>
            <a:off x="1055688" y="1817687"/>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1</a:t>
            </a:r>
          </a:p>
        </p:txBody>
      </p:sp>
      <p:sp>
        <p:nvSpPr>
          <p:cNvPr id="10" name="Oval 16">
            <a:extLst>
              <a:ext uri="{FF2B5EF4-FFF2-40B4-BE49-F238E27FC236}">
                <a16:creationId xmlns:a16="http://schemas.microsoft.com/office/drawing/2014/main" id="{E493A8C2-A488-41C1-B8B8-E9A0399C7F19}"/>
              </a:ext>
            </a:extLst>
          </p:cNvPr>
          <p:cNvSpPr/>
          <p:nvPr userDrawn="1"/>
        </p:nvSpPr>
        <p:spPr>
          <a:xfrm>
            <a:off x="1757257" y="2976005"/>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2</a:t>
            </a:r>
          </a:p>
        </p:txBody>
      </p:sp>
      <p:sp>
        <p:nvSpPr>
          <p:cNvPr id="11" name="Oval 16">
            <a:extLst>
              <a:ext uri="{FF2B5EF4-FFF2-40B4-BE49-F238E27FC236}">
                <a16:creationId xmlns:a16="http://schemas.microsoft.com/office/drawing/2014/main" id="{4874E037-CF06-47FD-9704-0926472423B5}"/>
              </a:ext>
            </a:extLst>
          </p:cNvPr>
          <p:cNvSpPr/>
          <p:nvPr userDrawn="1"/>
        </p:nvSpPr>
        <p:spPr>
          <a:xfrm>
            <a:off x="1765641" y="1776071"/>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3</a:t>
            </a:r>
          </a:p>
        </p:txBody>
      </p:sp>
      <p:sp>
        <p:nvSpPr>
          <p:cNvPr id="12" name="Oval 16">
            <a:extLst>
              <a:ext uri="{FF2B5EF4-FFF2-40B4-BE49-F238E27FC236}">
                <a16:creationId xmlns:a16="http://schemas.microsoft.com/office/drawing/2014/main" id="{D0831BA6-7C73-463C-8C73-56A9A6F862A7}"/>
              </a:ext>
            </a:extLst>
          </p:cNvPr>
          <p:cNvSpPr/>
          <p:nvPr userDrawn="1"/>
        </p:nvSpPr>
        <p:spPr>
          <a:xfrm>
            <a:off x="1769507" y="1996095"/>
            <a:ext cx="214267" cy="2114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05000"/>
              </a:lnSpc>
              <a:spcAft>
                <a:spcPts val="0"/>
              </a:spcAft>
            </a:pPr>
            <a:r>
              <a:rPr lang="nl-NL" sz="1067" b="1" noProof="0" dirty="0">
                <a:solidFill>
                  <a:schemeClr val="bg1"/>
                </a:solidFill>
                <a:latin typeface="+mn-lt"/>
              </a:rPr>
              <a:t>4</a:t>
            </a:r>
          </a:p>
        </p:txBody>
      </p:sp>
      <p:sp>
        <p:nvSpPr>
          <p:cNvPr id="13" name="Content Placeholder 6">
            <a:extLst>
              <a:ext uri="{FF2B5EF4-FFF2-40B4-BE49-F238E27FC236}">
                <a16:creationId xmlns:a16="http://schemas.microsoft.com/office/drawing/2014/main" id="{22FE3AB8-1594-4E63-83C8-DB19CCB0DFA2}"/>
              </a:ext>
            </a:extLst>
          </p:cNvPr>
          <p:cNvSpPr txBox="1">
            <a:spLocks/>
          </p:cNvSpPr>
          <p:nvPr userDrawn="1">
            <p:custDataLst>
              <p:tags r:id="rId1"/>
            </p:custDataLst>
          </p:nvPr>
        </p:nvSpPr>
        <p:spPr>
          <a:xfrm>
            <a:off x="6680200" y="5258183"/>
            <a:ext cx="4456113" cy="690958"/>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5000"/>
              </a:lnSpc>
              <a:spcBef>
                <a:spcPts val="0"/>
              </a:spcBef>
              <a:spcAft>
                <a:spcPts val="0"/>
              </a:spcAft>
              <a:buClrTx/>
              <a:buSzPct val="80000"/>
              <a:buFontTx/>
              <a:buNone/>
              <a:tabLst/>
              <a:defRPr/>
            </a:pPr>
            <a:r>
              <a:rPr lang="nl-NL" sz="1200" b="1" dirty="0">
                <a:effectLst/>
                <a:latin typeface="+mj-lt"/>
                <a:ea typeface="Calibri" panose="020F0502020204030204" pitchFamily="34" charset="0"/>
                <a:cs typeface="Times New Roman" panose="02020603050405020304" pitchFamily="18" charset="0"/>
              </a:rPr>
              <a:t>Documenttitel invoegen/wijzigen/verwijderen</a:t>
            </a:r>
            <a:endParaRPr lang="nl-NL" sz="1200" b="1" noProof="0" dirty="0">
              <a:solidFill>
                <a:schemeClr val="tx2"/>
              </a:solidFill>
              <a:latin typeface="+mj-lt"/>
            </a:endParaRPr>
          </a:p>
          <a:p>
            <a:pPr>
              <a:lnSpc>
                <a:spcPct val="105000"/>
              </a:lnSpc>
            </a:pPr>
            <a:r>
              <a:rPr lang="nl-NL" sz="1050" noProof="0" dirty="0">
                <a:solidFill>
                  <a:schemeClr val="tx2"/>
                </a:solidFill>
                <a:latin typeface="+mj-lt"/>
              </a:rPr>
              <a:t>Vul </a:t>
            </a:r>
            <a:r>
              <a:rPr lang="nl-NL" sz="1050" b="0" noProof="0" dirty="0">
                <a:solidFill>
                  <a:schemeClr val="tx2"/>
                </a:solidFill>
                <a:latin typeface="+mj-lt"/>
              </a:rPr>
              <a:t>de</a:t>
            </a:r>
            <a:r>
              <a:rPr lang="nl-NL" sz="1050" b="1" noProof="0" dirty="0">
                <a:solidFill>
                  <a:schemeClr val="tx2"/>
                </a:solidFill>
                <a:latin typeface="+mj-lt"/>
              </a:rPr>
              <a:t> naam van de presentatie </a:t>
            </a:r>
            <a:r>
              <a:rPr lang="nl-NL" sz="1050" b="0" noProof="0" dirty="0">
                <a:solidFill>
                  <a:schemeClr val="tx2"/>
                </a:solidFill>
                <a:latin typeface="+mj-lt"/>
              </a:rPr>
              <a:t>(rechtsonder</a:t>
            </a:r>
            <a:r>
              <a:rPr lang="nl-NL" sz="1050" noProof="0" dirty="0">
                <a:solidFill>
                  <a:schemeClr val="tx2"/>
                </a:solidFill>
                <a:latin typeface="+mj-lt"/>
              </a:rPr>
              <a:t> op de dia) in via tabblad </a:t>
            </a:r>
            <a:r>
              <a:rPr lang="nl-NL" sz="1050" b="1" noProof="0" dirty="0" err="1">
                <a:solidFill>
                  <a:schemeClr val="tx2"/>
                </a:solidFill>
                <a:latin typeface="+mj-lt"/>
              </a:rPr>
              <a:t>Insert</a:t>
            </a:r>
            <a:r>
              <a:rPr lang="nl-NL" sz="1050" noProof="0" dirty="0">
                <a:solidFill>
                  <a:schemeClr val="tx2"/>
                </a:solidFill>
                <a:latin typeface="+mj-lt"/>
              </a:rPr>
              <a:t> – </a:t>
            </a:r>
            <a:r>
              <a:rPr lang="nl-NL" sz="1050" b="1" noProof="0" dirty="0">
                <a:solidFill>
                  <a:schemeClr val="tx2"/>
                </a:solidFill>
                <a:latin typeface="+mj-lt"/>
              </a:rPr>
              <a:t>Header &amp; </a:t>
            </a:r>
            <a:r>
              <a:rPr lang="nl-NL" sz="1050" b="1" noProof="0" dirty="0" err="1">
                <a:solidFill>
                  <a:schemeClr val="tx2"/>
                </a:solidFill>
                <a:latin typeface="+mj-lt"/>
              </a:rPr>
              <a:t>Footer</a:t>
            </a:r>
            <a:r>
              <a:rPr lang="nl-NL" sz="1050" b="1" noProof="0" dirty="0">
                <a:solidFill>
                  <a:schemeClr val="tx2"/>
                </a:solidFill>
                <a:latin typeface="+mj-lt"/>
              </a:rPr>
              <a:t> </a:t>
            </a:r>
            <a:r>
              <a:rPr lang="nl-NL" sz="1050" noProof="0" dirty="0">
                <a:solidFill>
                  <a:schemeClr val="tx2"/>
                </a:solidFill>
                <a:latin typeface="+mj-lt"/>
              </a:rPr>
              <a:t>(Invoegen – Koptekst en voettekst). Wanneer je geen voettekst wilt, vink je deze uit.</a:t>
            </a:r>
          </a:p>
        </p:txBody>
      </p:sp>
      <p:pic>
        <p:nvPicPr>
          <p:cNvPr id="22" name="Afbeelding 39">
            <a:extLst>
              <a:ext uri="{FF2B5EF4-FFF2-40B4-BE49-F238E27FC236}">
                <a16:creationId xmlns:a16="http://schemas.microsoft.com/office/drawing/2014/main" id="{4F49943A-761E-4E76-9552-5419487D6B0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6680199" y="6043613"/>
            <a:ext cx="2460237" cy="265112"/>
          </a:xfrm>
          <a:prstGeom prst="rect">
            <a:avLst/>
          </a:prstGeom>
          <a:ln>
            <a:solidFill>
              <a:schemeClr val="bg2">
                <a:lumMod val="85000"/>
              </a:schemeClr>
            </a:solidFill>
          </a:ln>
          <a:effectLst/>
        </p:spPr>
      </p:pic>
      <p:sp>
        <p:nvSpPr>
          <p:cNvPr id="31" name="Titel 1">
            <a:extLst>
              <a:ext uri="{FF2B5EF4-FFF2-40B4-BE49-F238E27FC236}">
                <a16:creationId xmlns:a16="http://schemas.microsoft.com/office/drawing/2014/main" id="{D860EAC4-8178-415D-AA90-445520830098}"/>
              </a:ext>
            </a:extLst>
          </p:cNvPr>
          <p:cNvSpPr txBox="1">
            <a:spLocks/>
          </p:cNvSpPr>
          <p:nvPr userDrawn="1"/>
        </p:nvSpPr>
        <p:spPr>
          <a:xfrm>
            <a:off x="1055688" y="501650"/>
            <a:ext cx="10080626" cy="3600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600" kern="1200">
                <a:solidFill>
                  <a:schemeClr val="accent1"/>
                </a:solidFill>
                <a:latin typeface="Segoe UI Semibold" panose="020B0702040204020203" pitchFamily="34" charset="0"/>
                <a:ea typeface="+mj-ea"/>
                <a:cs typeface="Segoe UI Semibold" panose="020B0702040204020203" pitchFamily="34" charset="0"/>
              </a:defRPr>
            </a:lvl1pPr>
          </a:lstStyle>
          <a:p>
            <a:r>
              <a:rPr lang="nl-NL" dirty="0"/>
              <a:t>Korte uitleg bij de template</a:t>
            </a:r>
          </a:p>
        </p:txBody>
      </p:sp>
      <p:pic>
        <p:nvPicPr>
          <p:cNvPr id="35" name="Afbeelding 34">
            <a:extLst>
              <a:ext uri="{FF2B5EF4-FFF2-40B4-BE49-F238E27FC236}">
                <a16:creationId xmlns:a16="http://schemas.microsoft.com/office/drawing/2014/main" id="{52C77BE0-68AD-44EF-9542-4A80DBF99078}"/>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a:stretch/>
        </p:blipFill>
        <p:spPr>
          <a:xfrm>
            <a:off x="6572249" y="1478914"/>
            <a:ext cx="1699356" cy="1539875"/>
          </a:xfrm>
          <a:prstGeom prst="rect">
            <a:avLst/>
          </a:prstGeom>
        </p:spPr>
      </p:pic>
      <p:sp>
        <p:nvSpPr>
          <p:cNvPr id="37" name="Content Placeholder 4">
            <a:extLst>
              <a:ext uri="{FF2B5EF4-FFF2-40B4-BE49-F238E27FC236}">
                <a16:creationId xmlns:a16="http://schemas.microsoft.com/office/drawing/2014/main" id="{39DBA839-1E61-4DFE-8AA5-098D07E81311}"/>
              </a:ext>
            </a:extLst>
          </p:cNvPr>
          <p:cNvSpPr txBox="1">
            <a:spLocks/>
          </p:cNvSpPr>
          <p:nvPr userDrawn="1"/>
        </p:nvSpPr>
        <p:spPr>
          <a:xfrm>
            <a:off x="6572249" y="3565310"/>
            <a:ext cx="4564064" cy="153926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buFontTx/>
              <a:buNone/>
            </a:pPr>
            <a:r>
              <a:rPr lang="nl-NL" sz="1200" b="1" noProof="0" dirty="0">
                <a:solidFill>
                  <a:schemeClr val="tx2"/>
                </a:solidFill>
                <a:latin typeface="+mn-lt"/>
              </a:rPr>
              <a:t>Afbeeldingen invoegen</a:t>
            </a:r>
          </a:p>
          <a:p>
            <a:pPr marL="0" indent="0">
              <a:lnSpc>
                <a:spcPct val="105000"/>
              </a:lnSpc>
              <a:buFontTx/>
              <a:buNone/>
            </a:pPr>
            <a:r>
              <a:rPr lang="nl-NL" sz="1050" noProof="0" dirty="0">
                <a:solidFill>
                  <a:schemeClr val="tx2"/>
                </a:solidFill>
                <a:latin typeface="+mn-lt"/>
              </a:rPr>
              <a:t>Wanneer een </a:t>
            </a:r>
            <a:r>
              <a:rPr lang="nl-NL" sz="1050" b="1" noProof="0" dirty="0">
                <a:solidFill>
                  <a:schemeClr val="tx2"/>
                </a:solidFill>
                <a:latin typeface="+mn-lt"/>
              </a:rPr>
              <a:t>foto</a:t>
            </a:r>
            <a:r>
              <a:rPr lang="nl-NL" sz="1050" noProof="0" dirty="0">
                <a:solidFill>
                  <a:schemeClr val="tx2"/>
                </a:solidFill>
                <a:latin typeface="+mn-lt"/>
              </a:rPr>
              <a:t> in een </a:t>
            </a:r>
            <a:r>
              <a:rPr lang="nl-NL" sz="1050" noProof="0" dirty="0" err="1">
                <a:solidFill>
                  <a:schemeClr val="tx2"/>
                </a:solidFill>
                <a:latin typeface="+mn-lt"/>
              </a:rPr>
              <a:t>afbeeldingsplaceholder</a:t>
            </a:r>
            <a:r>
              <a:rPr lang="nl-NL" sz="1050" noProof="0" dirty="0">
                <a:solidFill>
                  <a:schemeClr val="tx2"/>
                </a:solidFill>
                <a:latin typeface="+mn-lt"/>
              </a:rPr>
              <a:t> is geplaatst </a:t>
            </a:r>
            <a:br>
              <a:rPr lang="nl-NL" sz="1050" noProof="0" dirty="0">
                <a:solidFill>
                  <a:schemeClr val="tx2"/>
                </a:solidFill>
                <a:latin typeface="+mn-lt"/>
              </a:rPr>
            </a:br>
            <a:r>
              <a:rPr lang="nl-NL" sz="1050" noProof="0" dirty="0">
                <a:solidFill>
                  <a:schemeClr val="tx2"/>
                </a:solidFill>
                <a:latin typeface="+mn-lt"/>
              </a:rPr>
              <a:t>kun je de </a:t>
            </a:r>
            <a:r>
              <a:rPr lang="nl-NL" sz="1050" b="1" noProof="0" dirty="0">
                <a:solidFill>
                  <a:schemeClr val="tx2"/>
                </a:solidFill>
                <a:latin typeface="+mn-lt"/>
              </a:rPr>
              <a:t>uitsnede</a:t>
            </a:r>
            <a:r>
              <a:rPr lang="nl-NL" sz="1050" noProof="0" dirty="0">
                <a:solidFill>
                  <a:schemeClr val="tx2"/>
                </a:solidFill>
                <a:latin typeface="+mn-lt"/>
              </a:rPr>
              <a:t> </a:t>
            </a:r>
            <a:r>
              <a:rPr lang="nl-NL" sz="1050" b="1" noProof="0" dirty="0">
                <a:solidFill>
                  <a:schemeClr val="tx2"/>
                </a:solidFill>
                <a:latin typeface="+mn-lt"/>
              </a:rPr>
              <a:t>nog veranderen</a:t>
            </a:r>
            <a:r>
              <a:rPr lang="nl-NL" sz="1050" noProof="0" dirty="0">
                <a:solidFill>
                  <a:schemeClr val="tx2"/>
                </a:solidFill>
                <a:latin typeface="+mn-lt"/>
              </a:rPr>
              <a:t>.</a:t>
            </a:r>
          </a:p>
          <a:p>
            <a:pPr marL="135731" indent="-135731">
              <a:lnSpc>
                <a:spcPct val="105000"/>
              </a:lnSpc>
              <a:buFont typeface="Arial" panose="020B0604020202020204" pitchFamily="34" charset="0"/>
              <a:buChar char="•"/>
            </a:pPr>
            <a:r>
              <a:rPr lang="nl-NL" sz="1050" noProof="0" dirty="0">
                <a:solidFill>
                  <a:schemeClr val="tx2"/>
                </a:solidFill>
                <a:latin typeface="+mn-lt"/>
              </a:rPr>
              <a:t>Selecteer de foto</a:t>
            </a:r>
          </a:p>
          <a:p>
            <a:pPr marL="135731" indent="-135731">
              <a:lnSpc>
                <a:spcPct val="105000"/>
              </a:lnSpc>
              <a:buFont typeface="Arial" panose="020B0604020202020204" pitchFamily="34" charset="0"/>
              <a:buChar char="•"/>
            </a:pPr>
            <a:r>
              <a:rPr lang="nl-NL" sz="1050" noProof="0" dirty="0">
                <a:solidFill>
                  <a:schemeClr val="tx2"/>
                </a:solidFill>
                <a:latin typeface="+mn-lt"/>
              </a:rPr>
              <a:t>Ga in het lint naar Picture Tools – Format </a:t>
            </a:r>
            <a:br>
              <a:rPr lang="nl-NL" sz="1050" noProof="0" dirty="0">
                <a:solidFill>
                  <a:schemeClr val="tx2"/>
                </a:solidFill>
                <a:latin typeface="+mn-lt"/>
              </a:rPr>
            </a:br>
            <a:r>
              <a:rPr lang="nl-NL" sz="1050" noProof="0" dirty="0">
                <a:solidFill>
                  <a:schemeClr val="tx2"/>
                </a:solidFill>
                <a:latin typeface="+mn-lt"/>
              </a:rPr>
              <a:t>(Hulpmiddelen voor afbeeldingen – Opmaak)</a:t>
            </a:r>
          </a:p>
          <a:p>
            <a:pPr marL="135731" indent="-135731">
              <a:lnSpc>
                <a:spcPct val="105000"/>
              </a:lnSpc>
              <a:buFont typeface="Arial" panose="020B0604020202020204" pitchFamily="34" charset="0"/>
              <a:buChar char="•"/>
            </a:pPr>
            <a:r>
              <a:rPr lang="nl-NL" sz="1050" noProof="0" dirty="0">
                <a:solidFill>
                  <a:schemeClr val="tx2"/>
                </a:solidFill>
                <a:latin typeface="+mn-lt"/>
              </a:rPr>
              <a:t>Klik op het </a:t>
            </a:r>
            <a:r>
              <a:rPr lang="nl-NL" sz="1050" b="1" noProof="0" dirty="0" err="1">
                <a:solidFill>
                  <a:schemeClr val="tx2"/>
                </a:solidFill>
                <a:latin typeface="+mn-lt"/>
              </a:rPr>
              <a:t>Crop</a:t>
            </a:r>
            <a:r>
              <a:rPr lang="nl-NL" sz="1050" noProof="0" dirty="0">
                <a:solidFill>
                  <a:schemeClr val="tx2"/>
                </a:solidFill>
                <a:latin typeface="+mn-lt"/>
              </a:rPr>
              <a:t> (Bijsnijden) gereedschap</a:t>
            </a:r>
          </a:p>
          <a:p>
            <a:pPr marL="135731" indent="-135731">
              <a:lnSpc>
                <a:spcPct val="105000"/>
              </a:lnSpc>
              <a:buFont typeface="Arial" panose="020B0604020202020204" pitchFamily="34" charset="0"/>
              <a:buChar char="•"/>
            </a:pPr>
            <a:r>
              <a:rPr lang="nl-NL" sz="1050" noProof="0" dirty="0">
                <a:solidFill>
                  <a:schemeClr val="tx2"/>
                </a:solidFill>
                <a:latin typeface="+mn-lt"/>
              </a:rPr>
              <a:t>De grijze delen zijn de delen van de foto die buiten de </a:t>
            </a:r>
            <a:r>
              <a:rPr lang="nl-NL" sz="1050" noProof="0" dirty="0" err="1">
                <a:solidFill>
                  <a:schemeClr val="tx2"/>
                </a:solidFill>
                <a:latin typeface="+mn-lt"/>
              </a:rPr>
              <a:t>placeholder</a:t>
            </a:r>
            <a:r>
              <a:rPr lang="nl-NL" sz="1050" noProof="0" dirty="0">
                <a:solidFill>
                  <a:schemeClr val="tx2"/>
                </a:solidFill>
                <a:latin typeface="+mn-lt"/>
              </a:rPr>
              <a:t> vallen</a:t>
            </a:r>
          </a:p>
          <a:p>
            <a:pPr marL="135731" indent="-135731">
              <a:lnSpc>
                <a:spcPct val="105000"/>
              </a:lnSpc>
              <a:buFont typeface="Arial" panose="020B0604020202020204" pitchFamily="34" charset="0"/>
              <a:buChar char="•"/>
            </a:pPr>
            <a:r>
              <a:rPr lang="nl-NL" sz="1050" noProof="0" dirty="0">
                <a:solidFill>
                  <a:schemeClr val="tx2"/>
                </a:solidFill>
                <a:latin typeface="+mn-lt"/>
              </a:rPr>
              <a:t>Verschuif de foto in de </a:t>
            </a:r>
            <a:r>
              <a:rPr lang="nl-NL" sz="1050" noProof="0" dirty="0" err="1">
                <a:solidFill>
                  <a:schemeClr val="tx2"/>
                </a:solidFill>
                <a:latin typeface="+mn-lt"/>
              </a:rPr>
              <a:t>placeholder</a:t>
            </a:r>
            <a:endParaRPr lang="nl-NL" sz="1050" noProof="0" dirty="0">
              <a:solidFill>
                <a:schemeClr val="tx2"/>
              </a:solidFill>
              <a:latin typeface="+mn-lt"/>
            </a:endParaRPr>
          </a:p>
        </p:txBody>
      </p:sp>
      <p:pic>
        <p:nvPicPr>
          <p:cNvPr id="42" name="Picture 80">
            <a:extLst>
              <a:ext uri="{FF2B5EF4-FFF2-40B4-BE49-F238E27FC236}">
                <a16:creationId xmlns:a16="http://schemas.microsoft.com/office/drawing/2014/main" id="{2D7188E2-B4C8-4DAC-8ADC-0B7AABEB240C}"/>
              </a:ext>
            </a:extLst>
          </p:cNvPr>
          <p:cNvPicPr>
            <a:picLocks noChangeAspect="1"/>
          </p:cNvPicPr>
          <p:nvPr userDrawn="1"/>
        </p:nvPicPr>
        <p:blipFill>
          <a:blip r:embed="rId9"/>
          <a:stretch>
            <a:fillRect/>
          </a:stretch>
        </p:blipFill>
        <p:spPr>
          <a:xfrm>
            <a:off x="8829305" y="1478914"/>
            <a:ext cx="1152525" cy="866775"/>
          </a:xfrm>
          <a:prstGeom prst="rect">
            <a:avLst/>
          </a:prstGeom>
          <a:ln>
            <a:solidFill>
              <a:schemeClr val="bg2">
                <a:lumMod val="85000"/>
              </a:schemeClr>
            </a:solidFill>
          </a:ln>
          <a:effectLst/>
        </p:spPr>
      </p:pic>
      <p:sp>
        <p:nvSpPr>
          <p:cNvPr id="47" name="Content Placeholder 4">
            <a:extLst>
              <a:ext uri="{FF2B5EF4-FFF2-40B4-BE49-F238E27FC236}">
                <a16:creationId xmlns:a16="http://schemas.microsoft.com/office/drawing/2014/main" id="{C9390AFB-9684-4E2A-A46F-337C296F7378}"/>
              </a:ext>
            </a:extLst>
          </p:cNvPr>
          <p:cNvSpPr txBox="1">
            <a:spLocks/>
          </p:cNvSpPr>
          <p:nvPr userDrawn="1"/>
        </p:nvSpPr>
        <p:spPr>
          <a:xfrm>
            <a:off x="8829305" y="2474380"/>
            <a:ext cx="2307008" cy="83638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5000"/>
              </a:lnSpc>
              <a:buFontTx/>
              <a:buNone/>
            </a:pPr>
            <a:r>
              <a:rPr lang="nl-NL" sz="1050" noProof="0" dirty="0">
                <a:solidFill>
                  <a:schemeClr val="tx2"/>
                </a:solidFill>
                <a:latin typeface="+mn-lt"/>
              </a:rPr>
              <a:t>Om objecten uit te lijnen op de slide, zorg je dat de </a:t>
            </a:r>
            <a:r>
              <a:rPr lang="nl-NL" sz="1050" b="1" noProof="0" dirty="0">
                <a:solidFill>
                  <a:schemeClr val="tx2"/>
                </a:solidFill>
                <a:latin typeface="+mn-lt"/>
              </a:rPr>
              <a:t>Guides</a:t>
            </a:r>
            <a:r>
              <a:rPr lang="nl-NL" sz="1050" noProof="0" dirty="0">
                <a:solidFill>
                  <a:schemeClr val="tx2"/>
                </a:solidFill>
                <a:latin typeface="+mn-lt"/>
              </a:rPr>
              <a:t> (Hulplijnen) aan staan. </a:t>
            </a:r>
            <a:r>
              <a:rPr lang="nl-NL" sz="1050" dirty="0"/>
              <a:t>Om de Guides aan te zetten ga je naar </a:t>
            </a:r>
            <a:r>
              <a:rPr lang="nl-NL" sz="1050" b="1" dirty="0"/>
              <a:t>View </a:t>
            </a:r>
            <a:r>
              <a:rPr lang="nl-NL" sz="1050" b="0" dirty="0"/>
              <a:t>en</a:t>
            </a:r>
            <a:r>
              <a:rPr lang="nl-NL" sz="1050" b="1" dirty="0"/>
              <a:t> </a:t>
            </a:r>
            <a:r>
              <a:rPr lang="nl-NL" sz="1050" b="0" dirty="0"/>
              <a:t>zet een vinkje voor </a:t>
            </a:r>
            <a:r>
              <a:rPr lang="nl-NL" sz="1050" b="1" dirty="0"/>
              <a:t>Guides </a:t>
            </a:r>
            <a:r>
              <a:rPr lang="nl-NL" sz="1050" dirty="0"/>
              <a:t>(of via Alt + F9).</a:t>
            </a:r>
            <a:endParaRPr lang="nl-NL" sz="1050" noProof="0" dirty="0">
              <a:solidFill>
                <a:schemeClr val="tx2"/>
              </a:solidFill>
              <a:latin typeface="+mn-lt"/>
            </a:endParaRPr>
          </a:p>
        </p:txBody>
      </p:sp>
      <p:sp>
        <p:nvSpPr>
          <p:cNvPr id="55" name="Content Placeholder 3">
            <a:extLst>
              <a:ext uri="{FF2B5EF4-FFF2-40B4-BE49-F238E27FC236}">
                <a16:creationId xmlns:a16="http://schemas.microsoft.com/office/drawing/2014/main" id="{D5AD646D-9B15-4ADF-9694-252C714F27AC}"/>
              </a:ext>
            </a:extLst>
          </p:cNvPr>
          <p:cNvSpPr txBox="1">
            <a:spLocks/>
          </p:cNvSpPr>
          <p:nvPr userDrawn="1"/>
        </p:nvSpPr>
        <p:spPr>
          <a:xfrm>
            <a:off x="6572249" y="1196975"/>
            <a:ext cx="1628776" cy="1802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dirty="0">
                <a:solidFill>
                  <a:schemeClr val="tx2"/>
                </a:solidFill>
                <a:latin typeface="+mn-lt"/>
              </a:rPr>
              <a:t>TG </a:t>
            </a:r>
            <a:r>
              <a:rPr lang="nl-NL" sz="1200" b="1" noProof="0" dirty="0" err="1">
                <a:solidFill>
                  <a:schemeClr val="tx2"/>
                </a:solidFill>
                <a:latin typeface="+mn-lt"/>
              </a:rPr>
              <a:t>Theme</a:t>
            </a:r>
            <a:r>
              <a:rPr lang="nl-NL" sz="1200" b="1" noProof="0" dirty="0">
                <a:solidFill>
                  <a:schemeClr val="tx2"/>
                </a:solidFill>
                <a:latin typeface="+mn-lt"/>
              </a:rPr>
              <a:t> Colors:</a:t>
            </a:r>
            <a:endParaRPr lang="nl-NL" sz="1050" noProof="0" dirty="0">
              <a:solidFill>
                <a:schemeClr val="tx2"/>
              </a:solidFill>
              <a:latin typeface="+mn-lt"/>
            </a:endParaRPr>
          </a:p>
        </p:txBody>
      </p:sp>
      <p:sp>
        <p:nvSpPr>
          <p:cNvPr id="56" name="Content Placeholder 3">
            <a:extLst>
              <a:ext uri="{FF2B5EF4-FFF2-40B4-BE49-F238E27FC236}">
                <a16:creationId xmlns:a16="http://schemas.microsoft.com/office/drawing/2014/main" id="{E3E39FEF-6B28-4C26-8F52-C90FEE9D9353}"/>
              </a:ext>
            </a:extLst>
          </p:cNvPr>
          <p:cNvSpPr txBox="1">
            <a:spLocks/>
          </p:cNvSpPr>
          <p:nvPr userDrawn="1"/>
        </p:nvSpPr>
        <p:spPr>
          <a:xfrm>
            <a:off x="8829305" y="1196975"/>
            <a:ext cx="1628776" cy="180242"/>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6"/>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5000"/>
              </a:lnSpc>
              <a:spcBef>
                <a:spcPts val="0"/>
              </a:spcBef>
              <a:spcAft>
                <a:spcPts val="0"/>
              </a:spcAft>
              <a:buClrTx/>
              <a:buSzPct val="80000"/>
              <a:buFontTx/>
              <a:buNone/>
              <a:tabLst/>
              <a:defRPr/>
            </a:pPr>
            <a:r>
              <a:rPr lang="nl-NL" sz="1200" b="1" noProof="0" dirty="0">
                <a:solidFill>
                  <a:schemeClr val="tx2"/>
                </a:solidFill>
                <a:latin typeface="+mn-lt"/>
              </a:rPr>
              <a:t>PowerPoint Guides</a:t>
            </a:r>
            <a:endParaRPr lang="nl-NL" sz="1050" noProof="0" dirty="0">
              <a:solidFill>
                <a:schemeClr val="tx2"/>
              </a:solidFill>
              <a:latin typeface="+mn-lt"/>
            </a:endParaRPr>
          </a:p>
        </p:txBody>
      </p:sp>
      <p:sp>
        <p:nvSpPr>
          <p:cNvPr id="58" name="Tijdelijke aanduiding voor dianummer 4">
            <a:extLst>
              <a:ext uri="{FF2B5EF4-FFF2-40B4-BE49-F238E27FC236}">
                <a16:creationId xmlns:a16="http://schemas.microsoft.com/office/drawing/2014/main" id="{2C85B6DC-B67A-44F8-A690-6C24B88BB798}"/>
              </a:ext>
            </a:extLst>
          </p:cNvPr>
          <p:cNvSpPr txBox="1">
            <a:spLocks/>
          </p:cNvSpPr>
          <p:nvPr userDrawn="1"/>
        </p:nvSpPr>
        <p:spPr>
          <a:xfrm>
            <a:off x="6007034" y="6594831"/>
            <a:ext cx="177933" cy="123111"/>
          </a:xfrm>
          <a:prstGeom prst="rect">
            <a:avLst/>
          </a:prstGeom>
        </p:spPr>
        <p:txBody>
          <a:bodyPr vert="horz" wrap="none" lIns="0" tIns="0" rIns="0" bIns="0" rtlCol="0" anchor="ctr">
            <a:spAutoFit/>
          </a:bodyPr>
          <a:lstStyle>
            <a:defPPr>
              <a:defRPr lang="nl-NL"/>
            </a:defPPr>
            <a:lvl1pPr marL="0" algn="ct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A15134-CD64-4197-891E-7C1F921F6B1C}" type="slidenum">
              <a:rPr lang="nl-NL" smtClean="0"/>
              <a:pPr/>
              <a:t>‹nr.›</a:t>
            </a:fld>
            <a:endParaRPr lang="nl-NL"/>
          </a:p>
        </p:txBody>
      </p:sp>
      <p:sp>
        <p:nvSpPr>
          <p:cNvPr id="24" name="Tijdelijke aanduiding voor voettekst 4">
            <a:extLst>
              <a:ext uri="{FF2B5EF4-FFF2-40B4-BE49-F238E27FC236}">
                <a16:creationId xmlns:a16="http://schemas.microsoft.com/office/drawing/2014/main" id="{A696748A-78C0-4DCE-8FA1-EDEEA4374E50}"/>
              </a:ext>
            </a:extLst>
          </p:cNvPr>
          <p:cNvSpPr txBox="1">
            <a:spLocks/>
          </p:cNvSpPr>
          <p:nvPr userDrawn="1"/>
        </p:nvSpPr>
        <p:spPr>
          <a:xfrm>
            <a:off x="10230616" y="6594831"/>
            <a:ext cx="905697" cy="123111"/>
          </a:xfrm>
          <a:prstGeom prst="rect">
            <a:avLst/>
          </a:prstGeom>
        </p:spPr>
        <p:txBody>
          <a:bodyPr vert="horz" wrap="non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dirty="0"/>
              <a:t>•</a:t>
            </a:r>
            <a:r>
              <a:rPr lang="nl-NL" sz="650" dirty="0"/>
              <a:t>  </a:t>
            </a:r>
            <a:r>
              <a:rPr lang="nl-NL" dirty="0"/>
              <a:t>© </a:t>
            </a:r>
            <a:r>
              <a:rPr lang="nl-NL" dirty="0" err="1"/>
              <a:t>TwynstraGudde</a:t>
            </a:r>
            <a:endParaRPr lang="nl-NL" dirty="0"/>
          </a:p>
        </p:txBody>
      </p:sp>
      <p:sp>
        <p:nvSpPr>
          <p:cNvPr id="25" name="Tijdelijke aanduiding voor voettekst 4">
            <a:extLst>
              <a:ext uri="{FF2B5EF4-FFF2-40B4-BE49-F238E27FC236}">
                <a16:creationId xmlns:a16="http://schemas.microsoft.com/office/drawing/2014/main" id="{CDC5B055-6659-4EFD-B3D7-6D4ACD85FA36}"/>
              </a:ext>
            </a:extLst>
          </p:cNvPr>
          <p:cNvSpPr txBox="1">
            <a:spLocks/>
          </p:cNvSpPr>
          <p:nvPr userDrawn="1"/>
        </p:nvSpPr>
        <p:spPr>
          <a:xfrm>
            <a:off x="6327774" y="6594831"/>
            <a:ext cx="3854451" cy="123111"/>
          </a:xfrm>
          <a:prstGeom prst="rect">
            <a:avLst/>
          </a:prstGeom>
        </p:spPr>
        <p:txBody>
          <a:bodyPr vert="horz" wrap="squar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a:t>Naam van de presentatie invullen via Invoegen - Koptekst en voettekst</a:t>
            </a:r>
            <a:endParaRPr lang="nl-NL" dirty="0"/>
          </a:p>
        </p:txBody>
      </p:sp>
    </p:spTree>
    <p:extLst>
      <p:ext uri="{BB962C8B-B14F-4D97-AF65-F5344CB8AC3E}">
        <p14:creationId xmlns:p14="http://schemas.microsoft.com/office/powerpoint/2010/main" val="2415650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oofdstukdia A">
    <p:bg>
      <p:bgPr>
        <a:solidFill>
          <a:schemeClr val="accent1"/>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30" name="Freeform 5">
            <a:extLst>
              <a:ext uri="{FF2B5EF4-FFF2-40B4-BE49-F238E27FC236}">
                <a16:creationId xmlns:a16="http://schemas.microsoft.com/office/drawing/2014/main" id="{2897FA62-D762-4CD1-BA1D-F5E4C39960CE}"/>
              </a:ext>
            </a:extLst>
          </p:cNvPr>
          <p:cNvSpPr>
            <a:spLocks/>
          </p:cNvSpPr>
          <p:nvPr userDrawn="1"/>
        </p:nvSpPr>
        <p:spPr bwMode="auto">
          <a:xfrm>
            <a:off x="0" y="2867025"/>
            <a:ext cx="4254500" cy="3990975"/>
          </a:xfrm>
          <a:custGeom>
            <a:avLst/>
            <a:gdLst>
              <a:gd name="T0" fmla="*/ 476 w 1340"/>
              <a:gd name="T1" fmla="*/ 1033 h 1252"/>
              <a:gd name="T2" fmla="*/ 380 w 1340"/>
              <a:gd name="T3" fmla="*/ 1015 h 1252"/>
              <a:gd name="T4" fmla="*/ 217 w 1340"/>
              <a:gd name="T5" fmla="*/ 774 h 1252"/>
              <a:gd name="T6" fmla="*/ 217 w 1340"/>
              <a:gd name="T7" fmla="*/ 256 h 1252"/>
              <a:gd name="T8" fmla="*/ 0 w 1340"/>
              <a:gd name="T9" fmla="*/ 0 h 1252"/>
              <a:gd name="T10" fmla="*/ 0 w 1340"/>
              <a:gd name="T11" fmla="*/ 1252 h 1252"/>
              <a:gd name="T12" fmla="*/ 1340 w 1340"/>
              <a:gd name="T13" fmla="*/ 1252 h 1252"/>
              <a:gd name="T14" fmla="*/ 712 w 1340"/>
              <a:gd name="T15" fmla="*/ 1033 h 1252"/>
              <a:gd name="T16" fmla="*/ 476 w 1340"/>
              <a:gd name="T17" fmla="*/ 1033 h 1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0" h="1252">
                <a:moveTo>
                  <a:pt x="476" y="1033"/>
                </a:moveTo>
                <a:cubicBezTo>
                  <a:pt x="442" y="1033"/>
                  <a:pt x="410" y="1027"/>
                  <a:pt x="380" y="1015"/>
                </a:cubicBezTo>
                <a:cubicBezTo>
                  <a:pt x="285" y="977"/>
                  <a:pt x="217" y="883"/>
                  <a:pt x="217" y="774"/>
                </a:cubicBezTo>
                <a:cubicBezTo>
                  <a:pt x="217" y="256"/>
                  <a:pt x="217" y="256"/>
                  <a:pt x="217" y="256"/>
                </a:cubicBezTo>
                <a:cubicBezTo>
                  <a:pt x="217" y="127"/>
                  <a:pt x="123" y="20"/>
                  <a:pt x="0" y="0"/>
                </a:cubicBezTo>
                <a:cubicBezTo>
                  <a:pt x="0" y="1252"/>
                  <a:pt x="0" y="1252"/>
                  <a:pt x="0" y="1252"/>
                </a:cubicBezTo>
                <a:cubicBezTo>
                  <a:pt x="1340" y="1252"/>
                  <a:pt x="1340" y="1252"/>
                  <a:pt x="1340" y="1252"/>
                </a:cubicBezTo>
                <a:cubicBezTo>
                  <a:pt x="1165" y="1119"/>
                  <a:pt x="948" y="1039"/>
                  <a:pt x="712" y="1033"/>
                </a:cubicBezTo>
                <a:lnTo>
                  <a:pt x="476" y="10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1" name="Freeform 6">
            <a:extLst>
              <a:ext uri="{FF2B5EF4-FFF2-40B4-BE49-F238E27FC236}">
                <a16:creationId xmlns:a16="http://schemas.microsoft.com/office/drawing/2014/main" id="{C16D66E5-EBBF-44DD-B364-C1C4DD3250EC}"/>
              </a:ext>
            </a:extLst>
          </p:cNvPr>
          <p:cNvSpPr>
            <a:spLocks/>
          </p:cNvSpPr>
          <p:nvPr userDrawn="1"/>
        </p:nvSpPr>
        <p:spPr bwMode="auto">
          <a:xfrm>
            <a:off x="11150600" y="4514850"/>
            <a:ext cx="1041400" cy="2343150"/>
          </a:xfrm>
          <a:custGeom>
            <a:avLst/>
            <a:gdLst>
              <a:gd name="T0" fmla="*/ 217 w 328"/>
              <a:gd name="T1" fmla="*/ 111 h 735"/>
              <a:gd name="T2" fmla="*/ 57 w 328"/>
              <a:gd name="T3" fmla="*/ 735 h 735"/>
              <a:gd name="T4" fmla="*/ 328 w 328"/>
              <a:gd name="T5" fmla="*/ 735 h 735"/>
              <a:gd name="T6" fmla="*/ 328 w 328"/>
              <a:gd name="T7" fmla="*/ 0 h 735"/>
              <a:gd name="T8" fmla="*/ 218 w 328"/>
              <a:gd name="T9" fmla="*/ 109 h 735"/>
              <a:gd name="T10" fmla="*/ 217 w 328"/>
              <a:gd name="T11" fmla="*/ 111 h 735"/>
            </a:gdLst>
            <a:ahLst/>
            <a:cxnLst>
              <a:cxn ang="0">
                <a:pos x="T0" y="T1"/>
              </a:cxn>
              <a:cxn ang="0">
                <a:pos x="T2" y="T3"/>
              </a:cxn>
              <a:cxn ang="0">
                <a:pos x="T4" y="T5"/>
              </a:cxn>
              <a:cxn ang="0">
                <a:pos x="T6" y="T7"/>
              </a:cxn>
              <a:cxn ang="0">
                <a:pos x="T8" y="T9"/>
              </a:cxn>
              <a:cxn ang="0">
                <a:pos x="T10" y="T11"/>
              </a:cxn>
            </a:cxnLst>
            <a:rect l="0" t="0" r="r" b="b"/>
            <a:pathLst>
              <a:path w="328" h="735">
                <a:moveTo>
                  <a:pt x="217" y="111"/>
                </a:moveTo>
                <a:cubicBezTo>
                  <a:pt x="53" y="282"/>
                  <a:pt x="0" y="520"/>
                  <a:pt x="57" y="735"/>
                </a:cubicBezTo>
                <a:cubicBezTo>
                  <a:pt x="328" y="735"/>
                  <a:pt x="328" y="735"/>
                  <a:pt x="328" y="735"/>
                </a:cubicBezTo>
                <a:cubicBezTo>
                  <a:pt x="328" y="0"/>
                  <a:pt x="328" y="0"/>
                  <a:pt x="328" y="0"/>
                </a:cubicBezTo>
                <a:cubicBezTo>
                  <a:pt x="218" y="109"/>
                  <a:pt x="218" y="109"/>
                  <a:pt x="218" y="109"/>
                </a:cubicBezTo>
                <a:cubicBezTo>
                  <a:pt x="217" y="110"/>
                  <a:pt x="217" y="110"/>
                  <a:pt x="217"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0280101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oofdstukdia B">
    <p:bg>
      <p:bgPr>
        <a:solidFill>
          <a:srgbClr val="ED3C2E"/>
        </a:soli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BE1B9DEC-DC50-46DE-B3C2-F8F215B0426F}"/>
              </a:ext>
            </a:extLst>
          </p:cNvPr>
          <p:cNvSpPr>
            <a:spLocks/>
          </p:cNvSpPr>
          <p:nvPr userDrawn="1"/>
        </p:nvSpPr>
        <p:spPr bwMode="auto">
          <a:xfrm>
            <a:off x="9091781" y="4838700"/>
            <a:ext cx="3100219" cy="2019300"/>
          </a:xfrm>
          <a:custGeom>
            <a:avLst/>
            <a:gdLst>
              <a:gd name="T0" fmla="*/ 976 w 976"/>
              <a:gd name="T1" fmla="*/ 0 h 633"/>
              <a:gd name="T2" fmla="*/ 974 w 976"/>
              <a:gd name="T3" fmla="*/ 0 h 633"/>
              <a:gd name="T4" fmla="*/ 541 w 976"/>
              <a:gd name="T5" fmla="*/ 164 h 633"/>
              <a:gd name="T6" fmla="*/ 405 w 976"/>
              <a:gd name="T7" fmla="*/ 392 h 633"/>
              <a:gd name="T8" fmla="*/ 164 w 976"/>
              <a:gd name="T9" fmla="*/ 539 h 633"/>
              <a:gd name="T10" fmla="*/ 0 w 976"/>
              <a:gd name="T11" fmla="*/ 633 h 633"/>
              <a:gd name="T12" fmla="*/ 976 w 976"/>
              <a:gd name="T13" fmla="*/ 633 h 633"/>
              <a:gd name="T14" fmla="*/ 976 w 976"/>
              <a:gd name="T15" fmla="*/ 0 h 6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6" h="633">
                <a:moveTo>
                  <a:pt x="976" y="0"/>
                </a:moveTo>
                <a:cubicBezTo>
                  <a:pt x="975" y="0"/>
                  <a:pt x="975" y="0"/>
                  <a:pt x="974" y="0"/>
                </a:cubicBezTo>
                <a:cubicBezTo>
                  <a:pt x="817" y="20"/>
                  <a:pt x="646" y="46"/>
                  <a:pt x="541" y="164"/>
                </a:cubicBezTo>
                <a:cubicBezTo>
                  <a:pt x="482" y="231"/>
                  <a:pt x="453" y="318"/>
                  <a:pt x="405" y="392"/>
                </a:cubicBezTo>
                <a:cubicBezTo>
                  <a:pt x="358" y="467"/>
                  <a:pt x="248" y="512"/>
                  <a:pt x="164" y="539"/>
                </a:cubicBezTo>
                <a:cubicBezTo>
                  <a:pt x="104" y="558"/>
                  <a:pt x="49" y="592"/>
                  <a:pt x="0" y="633"/>
                </a:cubicBezTo>
                <a:cubicBezTo>
                  <a:pt x="976" y="633"/>
                  <a:pt x="976" y="633"/>
                  <a:pt x="976" y="633"/>
                </a:cubicBezTo>
                <a:lnTo>
                  <a:pt x="97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0378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oofdstukdia C">
    <p:bg>
      <p:bgPr>
        <a:solidFill>
          <a:srgbClr val="FD7D23"/>
        </a:solidFill>
        <a:effectLst/>
      </p:bgPr>
    </p:bg>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40CA247A-CDFC-4AE8-A2DE-533C1D2CC10E}"/>
              </a:ext>
            </a:extLst>
          </p:cNvPr>
          <p:cNvSpPr>
            <a:spLocks/>
          </p:cNvSpPr>
          <p:nvPr userDrawn="1"/>
        </p:nvSpPr>
        <p:spPr bwMode="auto">
          <a:xfrm>
            <a:off x="7581900" y="0"/>
            <a:ext cx="4610100" cy="1681401"/>
          </a:xfrm>
          <a:custGeom>
            <a:avLst/>
            <a:gdLst>
              <a:gd name="T0" fmla="*/ 0 w 1451"/>
              <a:gd name="T1" fmla="*/ 0 h 526"/>
              <a:gd name="T2" fmla="*/ 209 w 1451"/>
              <a:gd name="T3" fmla="*/ 218 h 526"/>
              <a:gd name="T4" fmla="*/ 779 w 1451"/>
              <a:gd name="T5" fmla="*/ 389 h 526"/>
              <a:gd name="T6" fmla="*/ 1356 w 1451"/>
              <a:gd name="T7" fmla="*/ 418 h 526"/>
              <a:gd name="T8" fmla="*/ 1451 w 1451"/>
              <a:gd name="T9" fmla="*/ 349 h 526"/>
              <a:gd name="T10" fmla="*/ 1451 w 1451"/>
              <a:gd name="T11" fmla="*/ 0 h 526"/>
              <a:gd name="T12" fmla="*/ 0 w 1451"/>
              <a:gd name="T13" fmla="*/ 0 h 526"/>
            </a:gdLst>
            <a:ahLst/>
            <a:cxnLst>
              <a:cxn ang="0">
                <a:pos x="T0" y="T1"/>
              </a:cxn>
              <a:cxn ang="0">
                <a:pos x="T2" y="T3"/>
              </a:cxn>
              <a:cxn ang="0">
                <a:pos x="T4" y="T5"/>
              </a:cxn>
              <a:cxn ang="0">
                <a:pos x="T6" y="T7"/>
              </a:cxn>
              <a:cxn ang="0">
                <a:pos x="T8" y="T9"/>
              </a:cxn>
              <a:cxn ang="0">
                <a:pos x="T10" y="T11"/>
              </a:cxn>
              <a:cxn ang="0">
                <a:pos x="T12" y="T13"/>
              </a:cxn>
            </a:cxnLst>
            <a:rect l="0" t="0" r="r" b="b"/>
            <a:pathLst>
              <a:path w="1451" h="526">
                <a:moveTo>
                  <a:pt x="0" y="0"/>
                </a:moveTo>
                <a:cubicBezTo>
                  <a:pt x="46" y="75"/>
                  <a:pt x="115" y="149"/>
                  <a:pt x="209" y="218"/>
                </a:cubicBezTo>
                <a:cubicBezTo>
                  <a:pt x="396" y="355"/>
                  <a:pt x="559" y="359"/>
                  <a:pt x="779" y="389"/>
                </a:cubicBezTo>
                <a:cubicBezTo>
                  <a:pt x="972" y="415"/>
                  <a:pt x="1171" y="526"/>
                  <a:pt x="1356" y="418"/>
                </a:cubicBezTo>
                <a:cubicBezTo>
                  <a:pt x="1391" y="398"/>
                  <a:pt x="1423" y="375"/>
                  <a:pt x="1451" y="349"/>
                </a:cubicBezTo>
                <a:cubicBezTo>
                  <a:pt x="1451" y="0"/>
                  <a:pt x="1451" y="0"/>
                  <a:pt x="1451" y="0"/>
                </a:cubicBez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811867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oofdstukdia D">
    <p:bg>
      <p:bgPr>
        <a:solidFill>
          <a:srgbClr val="FABA33"/>
        </a:solidFill>
        <a:effectLst/>
      </p:bgPr>
    </p:bg>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58F60EDF-A2CD-454A-87C4-A5A6598D1BDA}"/>
              </a:ext>
            </a:extLst>
          </p:cNvPr>
          <p:cNvSpPr>
            <a:spLocks noGrp="1"/>
          </p:cNvSpPr>
          <p:nvPr>
            <p:ph type="ctrTitle" hasCustomPrompt="1"/>
          </p:nvPr>
        </p:nvSpPr>
        <p:spPr>
          <a:xfrm>
            <a:off x="1512888" y="2896444"/>
            <a:ext cx="7560000" cy="761747"/>
          </a:xfrm>
        </p:spPr>
        <p:txBody>
          <a:bodyPr anchor="b"/>
          <a:lstStyle>
            <a:lvl1pPr algn="l">
              <a:defRPr sz="5500">
                <a:solidFill>
                  <a:schemeClr val="bg1"/>
                </a:solidFill>
              </a:defRPr>
            </a:lvl1pPr>
          </a:lstStyle>
          <a:p>
            <a:r>
              <a:rPr lang="nl-NL" dirty="0"/>
              <a:t>Hoofdstuk</a:t>
            </a:r>
          </a:p>
        </p:txBody>
      </p:sp>
      <p:sp>
        <p:nvSpPr>
          <p:cNvPr id="12" name="Ondertitel 2">
            <a:extLst>
              <a:ext uri="{FF2B5EF4-FFF2-40B4-BE49-F238E27FC236}">
                <a16:creationId xmlns:a16="http://schemas.microsoft.com/office/drawing/2014/main" id="{6FB25999-5218-4657-B5CD-70AEB641AD78}"/>
              </a:ext>
            </a:extLst>
          </p:cNvPr>
          <p:cNvSpPr>
            <a:spLocks noGrp="1"/>
          </p:cNvSpPr>
          <p:nvPr>
            <p:ph type="subTitle" idx="1" hasCustomPrompt="1"/>
          </p:nvPr>
        </p:nvSpPr>
        <p:spPr>
          <a:xfrm>
            <a:off x="1512888" y="2321606"/>
            <a:ext cx="7560000" cy="447623"/>
          </a:xfrm>
        </p:spPr>
        <p:txBody>
          <a:bodyPr wrap="square">
            <a:spAutoFit/>
          </a:bodyPr>
          <a:lstStyle>
            <a:lvl1pPr marL="0" indent="0" algn="l">
              <a:buNone/>
              <a:defRPr sz="2600">
                <a:solidFill>
                  <a:schemeClr val="bg1"/>
                </a:solidFill>
                <a:latin typeface="Segoe UI Semibold" panose="020B0702040204020203" pitchFamily="34" charset="0"/>
                <a:cs typeface="Segoe UI Semibold" panose="020B07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grpSp>
        <p:nvGrpSpPr>
          <p:cNvPr id="24" name="Group 23">
            <a:extLst>
              <a:ext uri="{FF2B5EF4-FFF2-40B4-BE49-F238E27FC236}">
                <a16:creationId xmlns:a16="http://schemas.microsoft.com/office/drawing/2014/main" id="{DCD74FFA-4DCA-4877-B3D4-46C9AEB7E957}"/>
              </a:ext>
            </a:extLst>
          </p:cNvPr>
          <p:cNvGrpSpPr/>
          <p:nvPr userDrawn="1"/>
        </p:nvGrpSpPr>
        <p:grpSpPr>
          <a:xfrm>
            <a:off x="-1949449" y="2241549"/>
            <a:ext cx="1835150" cy="3096587"/>
            <a:chOff x="-1949449" y="2241549"/>
            <a:chExt cx="1835150" cy="3096587"/>
          </a:xfrm>
        </p:grpSpPr>
        <p:sp>
          <p:nvSpPr>
            <p:cNvPr id="25" name="TextBox 1">
              <a:extLst>
                <a:ext uri="{FF2B5EF4-FFF2-40B4-BE49-F238E27FC236}">
                  <a16:creationId xmlns:a16="http://schemas.microsoft.com/office/drawing/2014/main" id="{87835F6C-6362-4191-88C4-CC4BB8EC5953}"/>
                </a:ext>
              </a:extLst>
            </p:cNvPr>
            <p:cNvSpPr txBox="1"/>
            <p:nvPr userDrawn="1"/>
          </p:nvSpPr>
          <p:spPr>
            <a:xfrm>
              <a:off x="-1949449" y="2241549"/>
              <a:ext cx="1835150" cy="2539157"/>
            </a:xfrm>
            <a:prstGeom prst="rect">
              <a:avLst/>
            </a:prstGeom>
            <a:noFill/>
          </p:spPr>
          <p:txBody>
            <a:bodyPr wrap="square" lIns="0" tIns="0" rIns="0" bIns="0" rtlCol="0">
              <a:spAutoFit/>
            </a:bodyPr>
            <a:lstStyle/>
            <a:p>
              <a:pPr algn="l"/>
              <a:r>
                <a:rPr lang="nl-NL" sz="1100" b="1" dirty="0"/>
                <a:t>Om de achtergrondkleur </a:t>
              </a:r>
              <a:br>
                <a:rPr lang="nl-NL" sz="1100" b="1" dirty="0"/>
              </a:br>
              <a:r>
                <a:rPr lang="nl-NL" sz="1100" b="1" dirty="0"/>
                <a:t>te veranderen:</a:t>
              </a:r>
            </a:p>
            <a:p>
              <a:pPr marL="171450" indent="-171450" algn="l">
                <a:buFont typeface="Karla" pitchFamily="2" charset="0"/>
                <a:buChar char="–"/>
              </a:pPr>
              <a:r>
                <a:rPr lang="nl-NL" sz="1100" dirty="0"/>
                <a:t>Klik met je </a:t>
              </a:r>
              <a:r>
                <a:rPr lang="nl-NL" sz="1100" dirty="0" err="1"/>
                <a:t>rechter-muisknop</a:t>
              </a:r>
              <a:r>
                <a:rPr lang="nl-NL" sz="1100" dirty="0"/>
                <a:t> op de achtergrond</a:t>
              </a:r>
            </a:p>
            <a:p>
              <a:pPr marL="171450" indent="-171450" algn="l">
                <a:buFont typeface="Karla" pitchFamily="2" charset="0"/>
                <a:buChar char="–"/>
              </a:pPr>
              <a:r>
                <a:rPr lang="nl-NL" sz="1100" dirty="0"/>
                <a:t>Ga naar Format Background (Achtergrond opmaken)</a:t>
              </a:r>
            </a:p>
            <a:p>
              <a:pPr marL="171450" indent="-171450" algn="l">
                <a:buFont typeface="Karla" pitchFamily="2" charset="0"/>
                <a:buChar char="–"/>
              </a:pPr>
              <a:r>
                <a:rPr lang="nl-NL" sz="1100" dirty="0"/>
                <a:t>Kies een kleur uit het kleurenschema:</a:t>
              </a:r>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endParaRPr lang="nl-NL" sz="1100" dirty="0"/>
            </a:p>
            <a:p>
              <a:pPr marL="171450" indent="-171450" algn="l">
                <a:buFont typeface="Karla" pitchFamily="2" charset="0"/>
                <a:buChar char="–"/>
              </a:pPr>
              <a:r>
                <a:rPr lang="nl-NL" sz="1100" dirty="0"/>
                <a:t>Of uit de Aangepaste kleuren</a:t>
              </a:r>
            </a:p>
          </p:txBody>
        </p:sp>
        <p:sp>
          <p:nvSpPr>
            <p:cNvPr id="26" name="Rechthoek 28">
              <a:extLst>
                <a:ext uri="{FF2B5EF4-FFF2-40B4-BE49-F238E27FC236}">
                  <a16:creationId xmlns:a16="http://schemas.microsoft.com/office/drawing/2014/main" id="{669CBE88-9E81-496B-BEEF-21A41B82B8E4}"/>
                </a:ext>
              </a:extLst>
            </p:cNvPr>
            <p:cNvSpPr/>
            <p:nvPr userDrawn="1"/>
          </p:nvSpPr>
          <p:spPr>
            <a:xfrm>
              <a:off x="-373650" y="3969806"/>
              <a:ext cx="252000" cy="25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hthoek 31">
              <a:extLst>
                <a:ext uri="{FF2B5EF4-FFF2-40B4-BE49-F238E27FC236}">
                  <a16:creationId xmlns:a16="http://schemas.microsoft.com/office/drawing/2014/main" id="{7E14353B-315A-495A-A964-F726241162DE}"/>
                </a:ext>
              </a:extLst>
            </p:cNvPr>
            <p:cNvSpPr/>
            <p:nvPr userDrawn="1"/>
          </p:nvSpPr>
          <p:spPr>
            <a:xfrm>
              <a:off x="-1765300" y="3969806"/>
              <a:ext cx="252000" cy="2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hthoek 32">
              <a:extLst>
                <a:ext uri="{FF2B5EF4-FFF2-40B4-BE49-F238E27FC236}">
                  <a16:creationId xmlns:a16="http://schemas.microsoft.com/office/drawing/2014/main" id="{03B48A8B-35BB-472F-8323-BED7B7400DCD}"/>
                </a:ext>
              </a:extLst>
            </p:cNvPr>
            <p:cNvSpPr/>
            <p:nvPr userDrawn="1"/>
          </p:nvSpPr>
          <p:spPr>
            <a:xfrm>
              <a:off x="-1486970" y="3969806"/>
              <a:ext cx="252000" cy="2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hthoek 33">
              <a:extLst>
                <a:ext uri="{FF2B5EF4-FFF2-40B4-BE49-F238E27FC236}">
                  <a16:creationId xmlns:a16="http://schemas.microsoft.com/office/drawing/2014/main" id="{BA791C21-DF52-4300-9074-E9FB75FEF20E}"/>
                </a:ext>
              </a:extLst>
            </p:cNvPr>
            <p:cNvSpPr/>
            <p:nvPr userDrawn="1"/>
          </p:nvSpPr>
          <p:spPr>
            <a:xfrm>
              <a:off x="-1208640" y="3969806"/>
              <a:ext cx="252000" cy="25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hthoek 34">
              <a:extLst>
                <a:ext uri="{FF2B5EF4-FFF2-40B4-BE49-F238E27FC236}">
                  <a16:creationId xmlns:a16="http://schemas.microsoft.com/office/drawing/2014/main" id="{5AEE9F90-2978-4698-9544-A6F0ACCAB717}"/>
                </a:ext>
              </a:extLst>
            </p:cNvPr>
            <p:cNvSpPr/>
            <p:nvPr userDrawn="1"/>
          </p:nvSpPr>
          <p:spPr>
            <a:xfrm>
              <a:off x="-930310" y="3969806"/>
              <a:ext cx="252000" cy="25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hthoek 35">
              <a:extLst>
                <a:ext uri="{FF2B5EF4-FFF2-40B4-BE49-F238E27FC236}">
                  <a16:creationId xmlns:a16="http://schemas.microsoft.com/office/drawing/2014/main" id="{B265D053-1CDE-4D8C-88C7-A06696556185}"/>
                </a:ext>
              </a:extLst>
            </p:cNvPr>
            <p:cNvSpPr/>
            <p:nvPr userDrawn="1"/>
          </p:nvSpPr>
          <p:spPr>
            <a:xfrm>
              <a:off x="-651980" y="3969806"/>
              <a:ext cx="252000" cy="25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hthoek 36">
              <a:extLst>
                <a:ext uri="{FF2B5EF4-FFF2-40B4-BE49-F238E27FC236}">
                  <a16:creationId xmlns:a16="http://schemas.microsoft.com/office/drawing/2014/main" id="{08B2B4A2-772E-4F63-AEA6-D5F58EEA98D8}"/>
                </a:ext>
              </a:extLst>
            </p:cNvPr>
            <p:cNvSpPr/>
            <p:nvPr userDrawn="1"/>
          </p:nvSpPr>
          <p:spPr>
            <a:xfrm>
              <a:off x="-373650" y="4800386"/>
              <a:ext cx="252000" cy="252000"/>
            </a:xfrm>
            <a:prstGeom prst="rect">
              <a:avLst/>
            </a:prstGeom>
            <a:solidFill>
              <a:srgbClr val="7B47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hthoek 37">
              <a:extLst>
                <a:ext uri="{FF2B5EF4-FFF2-40B4-BE49-F238E27FC236}">
                  <a16:creationId xmlns:a16="http://schemas.microsoft.com/office/drawing/2014/main" id="{E0FC2309-556A-4AEA-B374-3C8B35395DE3}"/>
                </a:ext>
              </a:extLst>
            </p:cNvPr>
            <p:cNvSpPr/>
            <p:nvPr userDrawn="1"/>
          </p:nvSpPr>
          <p:spPr>
            <a:xfrm>
              <a:off x="-1765300" y="4800386"/>
              <a:ext cx="252000" cy="252000"/>
            </a:xfrm>
            <a:prstGeom prst="rect">
              <a:avLst/>
            </a:prstGeom>
            <a:solidFill>
              <a:srgbClr val="FD7D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hthoek 38">
              <a:extLst>
                <a:ext uri="{FF2B5EF4-FFF2-40B4-BE49-F238E27FC236}">
                  <a16:creationId xmlns:a16="http://schemas.microsoft.com/office/drawing/2014/main" id="{ABCA7054-4740-4FB6-A260-BF0FDB468F04}"/>
                </a:ext>
              </a:extLst>
            </p:cNvPr>
            <p:cNvSpPr/>
            <p:nvPr userDrawn="1"/>
          </p:nvSpPr>
          <p:spPr>
            <a:xfrm>
              <a:off x="-1486970" y="4800386"/>
              <a:ext cx="252000" cy="252000"/>
            </a:xfrm>
            <a:prstGeom prst="rect">
              <a:avLst/>
            </a:prstGeom>
            <a:solidFill>
              <a:srgbClr val="FA51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39">
              <a:extLst>
                <a:ext uri="{FF2B5EF4-FFF2-40B4-BE49-F238E27FC236}">
                  <a16:creationId xmlns:a16="http://schemas.microsoft.com/office/drawing/2014/main" id="{2C95FE4C-E15C-443C-AD63-2CFB55F2B3AC}"/>
                </a:ext>
              </a:extLst>
            </p:cNvPr>
            <p:cNvSpPr/>
            <p:nvPr userDrawn="1"/>
          </p:nvSpPr>
          <p:spPr>
            <a:xfrm>
              <a:off x="-1208640" y="4800386"/>
              <a:ext cx="252000" cy="252000"/>
            </a:xfrm>
            <a:prstGeom prst="rect">
              <a:avLst/>
            </a:prstGeom>
            <a:solidFill>
              <a:srgbClr val="FABA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40">
              <a:extLst>
                <a:ext uri="{FF2B5EF4-FFF2-40B4-BE49-F238E27FC236}">
                  <a16:creationId xmlns:a16="http://schemas.microsoft.com/office/drawing/2014/main" id="{87EAFAA7-26BB-428C-9EA8-3B246145316F}"/>
                </a:ext>
              </a:extLst>
            </p:cNvPr>
            <p:cNvSpPr/>
            <p:nvPr userDrawn="1"/>
          </p:nvSpPr>
          <p:spPr>
            <a:xfrm>
              <a:off x="-930310" y="4800386"/>
              <a:ext cx="252000" cy="252000"/>
            </a:xfrm>
            <a:prstGeom prst="rect">
              <a:avLst/>
            </a:prstGeom>
            <a:solidFill>
              <a:srgbClr val="ED3C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41">
              <a:extLst>
                <a:ext uri="{FF2B5EF4-FFF2-40B4-BE49-F238E27FC236}">
                  <a16:creationId xmlns:a16="http://schemas.microsoft.com/office/drawing/2014/main" id="{A07D3F5D-2370-4051-A3BA-4AF04EBD0427}"/>
                </a:ext>
              </a:extLst>
            </p:cNvPr>
            <p:cNvSpPr/>
            <p:nvPr userDrawn="1"/>
          </p:nvSpPr>
          <p:spPr>
            <a:xfrm>
              <a:off x="-651980" y="4800386"/>
              <a:ext cx="252000" cy="252000"/>
            </a:xfrm>
            <a:prstGeom prst="rect">
              <a:avLst/>
            </a:prstGeom>
            <a:solidFill>
              <a:srgbClr val="692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Rechthoek 42">
              <a:extLst>
                <a:ext uri="{FF2B5EF4-FFF2-40B4-BE49-F238E27FC236}">
                  <a16:creationId xmlns:a16="http://schemas.microsoft.com/office/drawing/2014/main" id="{843508EF-1A4C-48BA-9ED0-44FEC450063A}"/>
                </a:ext>
              </a:extLst>
            </p:cNvPr>
            <p:cNvSpPr/>
            <p:nvPr userDrawn="1"/>
          </p:nvSpPr>
          <p:spPr>
            <a:xfrm>
              <a:off x="-1765300" y="5086136"/>
              <a:ext cx="252000" cy="252000"/>
            </a:xfrm>
            <a:prstGeom prst="rect">
              <a:avLst/>
            </a:prstGeom>
            <a:solidFill>
              <a:srgbClr val="CA8B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9" name="Rechthoek 43">
              <a:extLst>
                <a:ext uri="{FF2B5EF4-FFF2-40B4-BE49-F238E27FC236}">
                  <a16:creationId xmlns:a16="http://schemas.microsoft.com/office/drawing/2014/main" id="{D01A1CD6-4A51-4E35-BCA8-9D0E5B8FF43B}"/>
                </a:ext>
              </a:extLst>
            </p:cNvPr>
            <p:cNvSpPr/>
            <p:nvPr userDrawn="1"/>
          </p:nvSpPr>
          <p:spPr>
            <a:xfrm>
              <a:off x="-1486970" y="5086136"/>
              <a:ext cx="252000" cy="252000"/>
            </a:xfrm>
            <a:prstGeom prst="rect">
              <a:avLst/>
            </a:prstGeom>
            <a:solidFill>
              <a:srgbClr val="5B5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Rechthoek 44">
              <a:extLst>
                <a:ext uri="{FF2B5EF4-FFF2-40B4-BE49-F238E27FC236}">
                  <a16:creationId xmlns:a16="http://schemas.microsoft.com/office/drawing/2014/main" id="{0DBE5CD5-BE4C-4FFE-B482-21C6E9791470}"/>
                </a:ext>
              </a:extLst>
            </p:cNvPr>
            <p:cNvSpPr/>
            <p:nvPr userDrawn="1"/>
          </p:nvSpPr>
          <p:spPr>
            <a:xfrm>
              <a:off x="-1208640" y="5086136"/>
              <a:ext cx="252000" cy="252000"/>
            </a:xfrm>
            <a:prstGeom prst="rect">
              <a:avLst/>
            </a:prstGeom>
            <a:solidFill>
              <a:srgbClr val="8A8F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hthoek 45">
              <a:extLst>
                <a:ext uri="{FF2B5EF4-FFF2-40B4-BE49-F238E27FC236}">
                  <a16:creationId xmlns:a16="http://schemas.microsoft.com/office/drawing/2014/main" id="{59959C53-0726-4519-A216-008A5AE749E1}"/>
                </a:ext>
              </a:extLst>
            </p:cNvPr>
            <p:cNvSpPr/>
            <p:nvPr userDrawn="1"/>
          </p:nvSpPr>
          <p:spPr>
            <a:xfrm>
              <a:off x="-930310" y="5086136"/>
              <a:ext cx="252000" cy="252000"/>
            </a:xfrm>
            <a:prstGeom prst="rect">
              <a:avLst/>
            </a:prstGeom>
            <a:solidFill>
              <a:srgbClr val="617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 name="Freeform 5">
            <a:extLst>
              <a:ext uri="{FF2B5EF4-FFF2-40B4-BE49-F238E27FC236}">
                <a16:creationId xmlns:a16="http://schemas.microsoft.com/office/drawing/2014/main" id="{80366865-BF55-4ACB-B47F-1F26F65DB8B4}"/>
              </a:ext>
            </a:extLst>
          </p:cNvPr>
          <p:cNvSpPr>
            <a:spLocks/>
          </p:cNvSpPr>
          <p:nvPr userDrawn="1"/>
        </p:nvSpPr>
        <p:spPr bwMode="auto">
          <a:xfrm>
            <a:off x="10726869" y="157163"/>
            <a:ext cx="1465131" cy="6700837"/>
          </a:xfrm>
          <a:custGeom>
            <a:avLst/>
            <a:gdLst>
              <a:gd name="T0" fmla="*/ 459 w 459"/>
              <a:gd name="T1" fmla="*/ 0 h 2107"/>
              <a:gd name="T2" fmla="*/ 358 w 459"/>
              <a:gd name="T3" fmla="*/ 150 h 2107"/>
              <a:gd name="T4" fmla="*/ 68 w 459"/>
              <a:gd name="T5" fmla="*/ 799 h 2107"/>
              <a:gd name="T6" fmla="*/ 267 w 459"/>
              <a:gd name="T7" fmla="*/ 1668 h 2107"/>
              <a:gd name="T8" fmla="*/ 336 w 459"/>
              <a:gd name="T9" fmla="*/ 2107 h 2107"/>
              <a:gd name="T10" fmla="*/ 459 w 459"/>
              <a:gd name="T11" fmla="*/ 2107 h 2107"/>
              <a:gd name="T12" fmla="*/ 459 w 459"/>
              <a:gd name="T13" fmla="*/ 0 h 2107"/>
            </a:gdLst>
            <a:ahLst/>
            <a:cxnLst>
              <a:cxn ang="0">
                <a:pos x="T0" y="T1"/>
              </a:cxn>
              <a:cxn ang="0">
                <a:pos x="T2" y="T3"/>
              </a:cxn>
              <a:cxn ang="0">
                <a:pos x="T4" y="T5"/>
              </a:cxn>
              <a:cxn ang="0">
                <a:pos x="T6" y="T7"/>
              </a:cxn>
              <a:cxn ang="0">
                <a:pos x="T8" y="T9"/>
              </a:cxn>
              <a:cxn ang="0">
                <a:pos x="T10" y="T11"/>
              </a:cxn>
              <a:cxn ang="0">
                <a:pos x="T12" y="T13"/>
              </a:cxn>
            </a:cxnLst>
            <a:rect l="0" t="0" r="r" b="b"/>
            <a:pathLst>
              <a:path w="459" h="2107">
                <a:moveTo>
                  <a:pt x="459" y="0"/>
                </a:moveTo>
                <a:cubicBezTo>
                  <a:pt x="423" y="38"/>
                  <a:pt x="389" y="87"/>
                  <a:pt x="358" y="150"/>
                </a:cubicBezTo>
                <a:cubicBezTo>
                  <a:pt x="235" y="396"/>
                  <a:pt x="0" y="520"/>
                  <a:pt x="68" y="799"/>
                </a:cubicBezTo>
                <a:cubicBezTo>
                  <a:pt x="143" y="1110"/>
                  <a:pt x="277" y="1341"/>
                  <a:pt x="267" y="1668"/>
                </a:cubicBezTo>
                <a:cubicBezTo>
                  <a:pt x="262" y="1839"/>
                  <a:pt x="279" y="1990"/>
                  <a:pt x="336" y="2107"/>
                </a:cubicBezTo>
                <a:cubicBezTo>
                  <a:pt x="459" y="2107"/>
                  <a:pt x="459" y="2107"/>
                  <a:pt x="459" y="2107"/>
                </a:cubicBezTo>
                <a:lnTo>
                  <a:pt x="45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1367168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3085F3-CC42-489B-AAB8-48878F5C263F}"/>
              </a:ext>
            </a:extLst>
          </p:cNvPr>
          <p:cNvSpPr>
            <a:spLocks noGrp="1"/>
          </p:cNvSpPr>
          <p:nvPr>
            <p:ph type="title" hasCustomPrompt="1"/>
          </p:nvPr>
        </p:nvSpPr>
        <p:spPr>
          <a:xfrm>
            <a:off x="1055688" y="501650"/>
            <a:ext cx="8064000" cy="443198"/>
          </a:xfrm>
        </p:spPr>
        <p:txBody>
          <a:bodyPr/>
          <a:lstStyle>
            <a:lvl1pPr>
              <a:defRPr/>
            </a:lvl1pPr>
          </a:lstStyle>
          <a:p>
            <a:r>
              <a:rPr lang="nl-NL" dirty="0"/>
              <a:t>Titel van de dia</a:t>
            </a:r>
          </a:p>
        </p:txBody>
      </p:sp>
      <p:sp>
        <p:nvSpPr>
          <p:cNvPr id="5" name="Tijdelijke aanduiding voor voettekst 4">
            <a:extLst>
              <a:ext uri="{FF2B5EF4-FFF2-40B4-BE49-F238E27FC236}">
                <a16:creationId xmlns:a16="http://schemas.microsoft.com/office/drawing/2014/main" id="{30FBA9E9-4D60-4684-90EC-6B7EE0B55753}"/>
              </a:ext>
            </a:extLst>
          </p:cNvPr>
          <p:cNvSpPr>
            <a:spLocks noGrp="1"/>
          </p:cNvSpPr>
          <p:nvPr>
            <p:ph type="ftr" sz="quarter" idx="11"/>
          </p:nvPr>
        </p:nvSpPr>
        <p:spPr/>
        <p:txBody>
          <a:body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0F2E6AA0-DFE9-42A0-8C96-0A570852D606}"/>
              </a:ext>
            </a:extLst>
          </p:cNvPr>
          <p:cNvSpPr>
            <a:spLocks noGrp="1"/>
          </p:cNvSpPr>
          <p:nvPr>
            <p:ph type="sldNum" sz="quarter" idx="12"/>
          </p:nvPr>
        </p:nvSpPr>
        <p:spPr/>
        <p:txBody>
          <a:bodyPr/>
          <a:lstStyle/>
          <a:p>
            <a:fld id="{72A15134-CD64-4197-891E-7C1F921F6B1C}" type="slidenum">
              <a:rPr lang="nl-NL" smtClean="0"/>
              <a:t>‹nr.›</a:t>
            </a:fld>
            <a:endParaRPr lang="nl-NL"/>
          </a:p>
        </p:txBody>
      </p:sp>
      <p:sp>
        <p:nvSpPr>
          <p:cNvPr id="12" name="Tijdelijke aanduiding voor tekst 11">
            <a:extLst>
              <a:ext uri="{FF2B5EF4-FFF2-40B4-BE49-F238E27FC236}">
                <a16:creationId xmlns:a16="http://schemas.microsoft.com/office/drawing/2014/main" id="{7DBD5019-C857-4BC5-8E0A-E72E37FFEB91}"/>
              </a:ext>
            </a:extLst>
          </p:cNvPr>
          <p:cNvSpPr>
            <a:spLocks noGrp="1"/>
          </p:cNvSpPr>
          <p:nvPr>
            <p:ph type="body" sz="quarter" idx="13" hasCustomPrompt="1"/>
          </p:nvPr>
        </p:nvSpPr>
        <p:spPr/>
        <p:txBody>
          <a:bodyPr numCol="1" spcCol="756000"/>
          <a:lstStyle>
            <a:lvl1pPr>
              <a:defRPr/>
            </a:lvl1pPr>
          </a:lstStyle>
          <a:p>
            <a:pPr lvl="0"/>
            <a:r>
              <a:rPr lang="nl-NL" dirty="0"/>
              <a:t>Backspace om </a:t>
            </a:r>
            <a:r>
              <a:rPr lang="nl-NL" dirty="0" err="1"/>
              <a:t>bullet</a:t>
            </a:r>
            <a:r>
              <a:rPr lang="nl-NL" dirty="0"/>
              <a:t> weg te hal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6" name="Vrije vorm: vorm 15">
            <a:extLst>
              <a:ext uri="{FF2B5EF4-FFF2-40B4-BE49-F238E27FC236}">
                <a16:creationId xmlns:a16="http://schemas.microsoft.com/office/drawing/2014/main" id="{C98B2000-E421-43F2-8B3F-FEA6B2AE149C}"/>
              </a:ext>
            </a:extLst>
          </p:cNvPr>
          <p:cNvSpPr/>
          <p:nvPr userDrawn="1"/>
        </p:nvSpPr>
        <p:spPr>
          <a:xfrm>
            <a:off x="8487125" y="1"/>
            <a:ext cx="3704875" cy="1470660"/>
          </a:xfrm>
          <a:custGeom>
            <a:avLst/>
            <a:gdLst>
              <a:gd name="connsiteX0" fmla="*/ 0 w 3704875"/>
              <a:gd name="connsiteY0" fmla="*/ 0 h 1470660"/>
              <a:gd name="connsiteX1" fmla="*/ 3704875 w 3704875"/>
              <a:gd name="connsiteY1" fmla="*/ 0 h 1470660"/>
              <a:gd name="connsiteX2" fmla="*/ 3704875 w 3704875"/>
              <a:gd name="connsiteY2" fmla="*/ 1470660 h 1470660"/>
              <a:gd name="connsiteX3" fmla="*/ 3171068 w 3704875"/>
              <a:gd name="connsiteY3" fmla="*/ 773695 h 1470660"/>
              <a:gd name="connsiteX4" fmla="*/ 2850148 w 3704875"/>
              <a:gd name="connsiteY4" fmla="*/ 709753 h 1470660"/>
              <a:gd name="connsiteX5" fmla="*/ 2043083 w 3704875"/>
              <a:gd name="connsiteY5" fmla="*/ 709753 h 1470660"/>
              <a:gd name="connsiteX6" fmla="*/ 0 w 3704875"/>
              <a:gd name="connsiteY6" fmla="*/ 0 h 1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04875" h="1470660">
                <a:moveTo>
                  <a:pt x="0" y="0"/>
                </a:moveTo>
                <a:cubicBezTo>
                  <a:pt x="0" y="0"/>
                  <a:pt x="0" y="0"/>
                  <a:pt x="3704875" y="0"/>
                </a:cubicBezTo>
                <a:lnTo>
                  <a:pt x="3704875" y="1470660"/>
                </a:lnTo>
                <a:cubicBezTo>
                  <a:pt x="3666746" y="1154149"/>
                  <a:pt x="3457036" y="888790"/>
                  <a:pt x="3171068" y="773695"/>
                </a:cubicBezTo>
                <a:cubicBezTo>
                  <a:pt x="3069391" y="732133"/>
                  <a:pt x="2961358" y="709753"/>
                  <a:pt x="2850148" y="709753"/>
                </a:cubicBezTo>
                <a:lnTo>
                  <a:pt x="2043083" y="709753"/>
                </a:lnTo>
                <a:cubicBezTo>
                  <a:pt x="1280501" y="690571"/>
                  <a:pt x="575113" y="428410"/>
                  <a:pt x="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52571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A968F37-1139-49D7-A641-780CAD8B56D2}"/>
              </a:ext>
            </a:extLst>
          </p:cNvPr>
          <p:cNvSpPr>
            <a:spLocks noGrp="1"/>
          </p:cNvSpPr>
          <p:nvPr>
            <p:ph type="title"/>
          </p:nvPr>
        </p:nvSpPr>
        <p:spPr>
          <a:xfrm>
            <a:off x="1055688" y="501650"/>
            <a:ext cx="10080626" cy="443198"/>
          </a:xfrm>
          <a:prstGeom prst="rect">
            <a:avLst/>
          </a:prstGeom>
        </p:spPr>
        <p:txBody>
          <a:bodyPr vert="horz" wrap="square" lIns="0" tIns="0" rIns="0" bIns="0" rtlCol="0" anchor="t" anchorCtr="0">
            <a:sp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14ABDDF6-CB6A-4A52-AE71-ADBD74068E17}"/>
              </a:ext>
            </a:extLst>
          </p:cNvPr>
          <p:cNvSpPr>
            <a:spLocks noGrp="1"/>
          </p:cNvSpPr>
          <p:nvPr>
            <p:ph type="body" idx="1"/>
          </p:nvPr>
        </p:nvSpPr>
        <p:spPr>
          <a:xfrm>
            <a:off x="1055687" y="1196976"/>
            <a:ext cx="10080625" cy="5111750"/>
          </a:xfrm>
          <a:prstGeom prst="rect">
            <a:avLst/>
          </a:prstGeom>
        </p:spPr>
        <p:txBody>
          <a:bodyPr vert="horz" lIns="0" tIns="0" rIns="0" bIns="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a:extLst>
              <a:ext uri="{FF2B5EF4-FFF2-40B4-BE49-F238E27FC236}">
                <a16:creationId xmlns:a16="http://schemas.microsoft.com/office/drawing/2014/main" id="{7725891B-7F8D-4041-8C1F-95D6FAC2DD85}"/>
              </a:ext>
            </a:extLst>
          </p:cNvPr>
          <p:cNvSpPr>
            <a:spLocks noGrp="1"/>
          </p:cNvSpPr>
          <p:nvPr>
            <p:ph type="ftr" sz="quarter" idx="3"/>
          </p:nvPr>
        </p:nvSpPr>
        <p:spPr>
          <a:xfrm>
            <a:off x="6327774" y="6594831"/>
            <a:ext cx="3855600" cy="123111"/>
          </a:xfrm>
          <a:prstGeom prst="rect">
            <a:avLst/>
          </a:prstGeom>
        </p:spPr>
        <p:txBody>
          <a:bodyPr vert="horz" lIns="0" tIns="0" rIns="0" bIns="0" rtlCol="0" anchor="ctr">
            <a:spAutoFit/>
          </a:bodyPr>
          <a:lstStyle>
            <a:lvl1pPr algn="r">
              <a:defRPr sz="800">
                <a:solidFill>
                  <a:schemeClr val="accent1"/>
                </a:solidFill>
                <a:latin typeface="Segoe UI Semilight" panose="020B0402040204020203" pitchFamily="34" charset="0"/>
                <a:cs typeface="Segoe UI Semilight" panose="020B0402040204020203" pitchFamily="34" charset="0"/>
              </a:defRPr>
            </a:lvl1pPr>
          </a:lstStyle>
          <a:p>
            <a:r>
              <a:rPr lang="nl-NL"/>
              <a:t>Naam van de presentatie invullen via Invoegen - Koptekst en voettekst</a:t>
            </a:r>
          </a:p>
        </p:txBody>
      </p:sp>
      <p:sp>
        <p:nvSpPr>
          <p:cNvPr id="6" name="Tijdelijke aanduiding voor dianummer 5">
            <a:extLst>
              <a:ext uri="{FF2B5EF4-FFF2-40B4-BE49-F238E27FC236}">
                <a16:creationId xmlns:a16="http://schemas.microsoft.com/office/drawing/2014/main" id="{F5D6653B-1705-4630-AC81-2115A18181F0}"/>
              </a:ext>
            </a:extLst>
          </p:cNvPr>
          <p:cNvSpPr>
            <a:spLocks noGrp="1"/>
          </p:cNvSpPr>
          <p:nvPr>
            <p:ph type="sldNum" sz="quarter" idx="4"/>
          </p:nvPr>
        </p:nvSpPr>
        <p:spPr>
          <a:xfrm>
            <a:off x="6007034" y="6594831"/>
            <a:ext cx="177933" cy="123111"/>
          </a:xfrm>
          <a:prstGeom prst="rect">
            <a:avLst/>
          </a:prstGeom>
        </p:spPr>
        <p:txBody>
          <a:bodyPr vert="horz" wrap="none" lIns="0" tIns="0" rIns="0" bIns="0" rtlCol="0" anchor="ctr">
            <a:spAutoFit/>
          </a:bodyPr>
          <a:lstStyle>
            <a:lvl1pPr algn="ctr">
              <a:defRPr sz="800">
                <a:solidFill>
                  <a:schemeClr val="accent1"/>
                </a:solidFill>
                <a:latin typeface="Segoe UI Semilight" panose="020B0402040204020203" pitchFamily="34" charset="0"/>
                <a:cs typeface="Segoe UI Semilight" panose="020B0402040204020203" pitchFamily="34" charset="0"/>
              </a:defRPr>
            </a:lvl1pPr>
          </a:lstStyle>
          <a:p>
            <a:fld id="{72A15134-CD64-4197-891E-7C1F921F6B1C}" type="slidenum">
              <a:rPr lang="nl-NL" smtClean="0"/>
              <a:pPr/>
              <a:t>‹nr.›</a:t>
            </a:fld>
            <a:endParaRPr lang="nl-NL"/>
          </a:p>
        </p:txBody>
      </p:sp>
      <p:sp>
        <p:nvSpPr>
          <p:cNvPr id="8" name="Tijdelijke aanduiding voor voettekst 4">
            <a:extLst>
              <a:ext uri="{FF2B5EF4-FFF2-40B4-BE49-F238E27FC236}">
                <a16:creationId xmlns:a16="http://schemas.microsoft.com/office/drawing/2014/main" id="{4334ACE2-D806-4C22-88A4-5E2A60B4D9D2}"/>
              </a:ext>
            </a:extLst>
          </p:cNvPr>
          <p:cNvSpPr txBox="1">
            <a:spLocks/>
          </p:cNvSpPr>
          <p:nvPr userDrawn="1"/>
        </p:nvSpPr>
        <p:spPr>
          <a:xfrm>
            <a:off x="10230616" y="6594831"/>
            <a:ext cx="905697" cy="123111"/>
          </a:xfrm>
          <a:prstGeom prst="rect">
            <a:avLst/>
          </a:prstGeom>
        </p:spPr>
        <p:txBody>
          <a:bodyPr vert="horz" wrap="none" lIns="0" tIns="0" rIns="0" bIns="0" rtlCol="0" anchor="ctr">
            <a:spAutoFit/>
          </a:bodyPr>
          <a:lstStyle>
            <a:defPPr>
              <a:defRPr lang="nl-NL"/>
            </a:defPPr>
            <a:lvl1pPr marL="0" algn="r" defTabSz="914400" rtl="0" eaLnBrk="1" latinLnBrk="0" hangingPunct="1">
              <a:defRPr sz="800" kern="1200">
                <a:solidFill>
                  <a:schemeClr val="accent1"/>
                </a:solidFill>
                <a:latin typeface="Segoe UI Semilight" panose="020B0402040204020203" pitchFamily="34" charset="0"/>
                <a:ea typeface="+mn-ea"/>
                <a:cs typeface="Segoe UI Semilight" panose="020B04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nl-NL" dirty="0"/>
              <a:t>•</a:t>
            </a:r>
            <a:r>
              <a:rPr lang="nl-NL" sz="650" dirty="0"/>
              <a:t>  </a:t>
            </a:r>
            <a:r>
              <a:rPr lang="nl-NL" dirty="0"/>
              <a:t>© </a:t>
            </a:r>
            <a:r>
              <a:rPr lang="nl-NL" dirty="0" err="1"/>
              <a:t>TwynstraGudde</a:t>
            </a:r>
            <a:endParaRPr lang="nl-NL" dirty="0"/>
          </a:p>
        </p:txBody>
      </p:sp>
    </p:spTree>
    <p:extLst>
      <p:ext uri="{BB962C8B-B14F-4D97-AF65-F5344CB8AC3E}">
        <p14:creationId xmlns:p14="http://schemas.microsoft.com/office/powerpoint/2010/main" val="502450714"/>
      </p:ext>
    </p:extLst>
  </p:cSld>
  <p:clrMap bg1="lt1" tx1="dk1" bg2="lt2" tx2="dk2" accent1="accent1" accent2="accent2" accent3="accent3" accent4="accent4" accent5="accent5" accent6="accent6" hlink="hlink" folHlink="folHlink"/>
  <p:sldLayoutIdLst>
    <p:sldLayoutId id="2147483656" r:id="rId1"/>
    <p:sldLayoutId id="2147483649" r:id="rId2"/>
    <p:sldLayoutId id="2147483657" r:id="rId3"/>
    <p:sldLayoutId id="2147483696" r:id="rId4"/>
    <p:sldLayoutId id="2147483701" r:id="rId5"/>
    <p:sldLayoutId id="2147483702" r:id="rId6"/>
    <p:sldLayoutId id="2147483703" r:id="rId7"/>
    <p:sldLayoutId id="2147483704" r:id="rId8"/>
    <p:sldLayoutId id="2147483650" r:id="rId9"/>
    <p:sldLayoutId id="2147483659" r:id="rId10"/>
    <p:sldLayoutId id="2147483697" r:id="rId11"/>
    <p:sldLayoutId id="2147483698" r:id="rId12"/>
    <p:sldLayoutId id="2147483669" r:id="rId13"/>
    <p:sldLayoutId id="2147483670" r:id="rId14"/>
    <p:sldLayoutId id="2147483699" r:id="rId15"/>
    <p:sldLayoutId id="2147483700" r:id="rId16"/>
    <p:sldLayoutId id="2147483667" r:id="rId17"/>
    <p:sldLayoutId id="2147483668" r:id="rId18"/>
    <p:sldLayoutId id="2147483672" r:id="rId19"/>
    <p:sldLayoutId id="2147483673" r:id="rId20"/>
    <p:sldLayoutId id="2147483690" r:id="rId21"/>
    <p:sldLayoutId id="2147483691" r:id="rId22"/>
    <p:sldLayoutId id="2147483692" r:id="rId23"/>
    <p:sldLayoutId id="2147483677" r:id="rId24"/>
    <p:sldLayoutId id="2147483678" r:id="rId25"/>
    <p:sldLayoutId id="2147483679" r:id="rId26"/>
    <p:sldLayoutId id="2147483680" r:id="rId27"/>
    <p:sldLayoutId id="2147483662" r:id="rId28"/>
    <p:sldLayoutId id="2147483663" r:id="rId29"/>
    <p:sldLayoutId id="2147483664" r:id="rId30"/>
    <p:sldLayoutId id="2147483683" r:id="rId31"/>
    <p:sldLayoutId id="2147483684" r:id="rId32"/>
    <p:sldLayoutId id="2147483705" r:id="rId33"/>
    <p:sldLayoutId id="2147483706" r:id="rId34"/>
    <p:sldLayoutId id="2147483707" r:id="rId35"/>
    <p:sldLayoutId id="2147483708" r:id="rId36"/>
    <p:sldLayoutId id="2147483685" r:id="rId37"/>
    <p:sldLayoutId id="2147483686" r:id="rId38"/>
    <p:sldLayoutId id="2147483687" r:id="rId39"/>
    <p:sldLayoutId id="2147483693" r:id="rId40"/>
    <p:sldLayoutId id="2147483695" r:id="rId41"/>
    <p:sldLayoutId id="2147483694" r:id="rId42"/>
    <p:sldLayoutId id="2147483688" r:id="rId43"/>
    <p:sldLayoutId id="2147483654" r:id="rId44"/>
    <p:sldLayoutId id="2147483689" r:id="rId45"/>
  </p:sldLayoutIdLst>
  <p:hf hdr="0" dt="0"/>
  <p:txStyles>
    <p:titleStyle>
      <a:lvl1pPr algn="l" defTabSz="914400" rtl="0" eaLnBrk="1" latinLnBrk="0" hangingPunct="1">
        <a:lnSpc>
          <a:spcPct val="90000"/>
        </a:lnSpc>
        <a:spcBef>
          <a:spcPct val="0"/>
        </a:spcBef>
        <a:buNone/>
        <a:defRPr sz="3200" kern="1200">
          <a:solidFill>
            <a:schemeClr val="accent1"/>
          </a:solidFill>
          <a:latin typeface="Segoe UI Semibold" panose="020B0702040204020203" pitchFamily="34" charset="0"/>
          <a:ea typeface="+mj-ea"/>
          <a:cs typeface="Segoe UI Semibold" panose="020B0702040204020203" pitchFamily="34" charset="0"/>
        </a:defRPr>
      </a:lvl1pPr>
    </p:titleStyle>
    <p:bodyStyle>
      <a:lvl1pPr marL="266700" indent="-266700" algn="l" defTabSz="914400" rtl="0" eaLnBrk="1" latinLnBrk="0" hangingPunct="1">
        <a:lnSpc>
          <a:spcPct val="126000"/>
        </a:lnSpc>
        <a:spcBef>
          <a:spcPts val="0"/>
        </a:spcBef>
        <a:buFont typeface="Arial" panose="020B0604020202020204" pitchFamily="34" charset="0"/>
        <a:buChar char="•"/>
        <a:defRPr sz="2600" kern="1200">
          <a:solidFill>
            <a:schemeClr val="tx1"/>
          </a:solidFill>
          <a:latin typeface="+mn-lt"/>
          <a:ea typeface="+mn-ea"/>
          <a:cs typeface="+mn-cs"/>
        </a:defRPr>
      </a:lvl1pPr>
      <a:lvl2pPr marL="53975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2pPr>
      <a:lvl3pPr marL="80645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3pPr>
      <a:lvl4pPr marL="107950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4pPr>
      <a:lvl5pPr marL="134620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274320" algn="l" defTabSz="914400" rtl="0" eaLnBrk="1" latinLnBrk="0" hangingPunct="1">
        <a:defRPr sz="1800" kern="1200">
          <a:solidFill>
            <a:schemeClr val="tx1"/>
          </a:solidFill>
          <a:latin typeface="+mn-lt"/>
          <a:ea typeface="+mn-ea"/>
          <a:cs typeface="+mn-cs"/>
        </a:defRPr>
      </a:lvl2pPr>
      <a:lvl3pPr marL="548640" algn="l" defTabSz="914400" rtl="0" eaLnBrk="1" latinLnBrk="0" hangingPunct="1">
        <a:defRPr sz="1800" kern="1200">
          <a:solidFill>
            <a:schemeClr val="tx1"/>
          </a:solidFill>
          <a:latin typeface="+mn-lt"/>
          <a:ea typeface="+mn-ea"/>
          <a:cs typeface="+mn-cs"/>
        </a:defRPr>
      </a:lvl3pPr>
      <a:lvl4pPr marL="822960" algn="l" defTabSz="914400" rtl="0" eaLnBrk="1" latinLnBrk="0" hangingPunct="1">
        <a:defRPr sz="1800" kern="1200">
          <a:solidFill>
            <a:schemeClr val="tx1"/>
          </a:solidFill>
          <a:latin typeface="+mn-lt"/>
          <a:ea typeface="+mn-ea"/>
          <a:cs typeface="+mn-cs"/>
        </a:defRPr>
      </a:lvl4pPr>
      <a:lvl5pPr marL="1097280" algn="l" defTabSz="914400" rtl="0" eaLnBrk="1" latinLnBrk="0" hangingPunct="1">
        <a:defRPr sz="1800" kern="1200">
          <a:solidFill>
            <a:schemeClr val="tx1"/>
          </a:solidFill>
          <a:latin typeface="+mn-lt"/>
          <a:ea typeface="+mn-ea"/>
          <a:cs typeface="+mn-cs"/>
        </a:defRPr>
      </a:lvl5pPr>
      <a:lvl6pPr marL="1371600" algn="l" defTabSz="914400" rtl="0" eaLnBrk="1" latinLnBrk="0" hangingPunct="1">
        <a:defRPr sz="1800" kern="1200">
          <a:solidFill>
            <a:schemeClr val="tx1"/>
          </a:solidFill>
          <a:latin typeface="+mn-lt"/>
          <a:ea typeface="+mn-ea"/>
          <a:cs typeface="+mn-cs"/>
        </a:defRPr>
      </a:lvl6pPr>
      <a:lvl7pPr marL="1645920" algn="l" defTabSz="914400" rtl="0" eaLnBrk="1" latinLnBrk="0" hangingPunct="1">
        <a:defRPr sz="1800" kern="1200">
          <a:solidFill>
            <a:schemeClr val="tx1"/>
          </a:solidFill>
          <a:latin typeface="+mn-lt"/>
          <a:ea typeface="+mn-ea"/>
          <a:cs typeface="+mn-cs"/>
        </a:defRPr>
      </a:lvl7pPr>
      <a:lvl8pPr marL="1920240" algn="l" defTabSz="914400" rtl="0" eaLnBrk="1" latinLnBrk="0" hangingPunct="1">
        <a:defRPr sz="1800" kern="1200">
          <a:solidFill>
            <a:schemeClr val="tx1"/>
          </a:solidFill>
          <a:latin typeface="+mn-lt"/>
          <a:ea typeface="+mn-ea"/>
          <a:cs typeface="+mn-cs"/>
        </a:defRPr>
      </a:lvl8pPr>
      <a:lvl9pPr marL="219456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54" userDrawn="1">
          <p15:clr>
            <a:srgbClr val="F26B43"/>
          </p15:clr>
        </p15:guide>
        <p15:guide id="2" pos="665" userDrawn="1">
          <p15:clr>
            <a:srgbClr val="F26B43"/>
          </p15:clr>
        </p15:guide>
        <p15:guide id="3" pos="7015" userDrawn="1">
          <p15:clr>
            <a:srgbClr val="F26B43"/>
          </p15:clr>
        </p15:guide>
        <p15:guide id="4" orient="horz" pos="3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18" Type="http://schemas.openxmlformats.org/officeDocument/2006/relationships/image" Target="../media/image34.jpg"/><Relationship Id="rId3" Type="http://schemas.openxmlformats.org/officeDocument/2006/relationships/image" Target="../media/image19.jpeg"/><Relationship Id="rId7" Type="http://schemas.openxmlformats.org/officeDocument/2006/relationships/image" Target="../media/image23.jpeg"/><Relationship Id="rId12" Type="http://schemas.openxmlformats.org/officeDocument/2006/relationships/image" Target="../media/image28.jpeg"/><Relationship Id="rId17" Type="http://schemas.openxmlformats.org/officeDocument/2006/relationships/image" Target="../media/image33.jpeg"/><Relationship Id="rId2" Type="http://schemas.openxmlformats.org/officeDocument/2006/relationships/image" Target="../media/image18.jpeg"/><Relationship Id="rId16" Type="http://schemas.openxmlformats.org/officeDocument/2006/relationships/image" Target="../media/image32.jpeg"/><Relationship Id="rId20" Type="http://schemas.openxmlformats.org/officeDocument/2006/relationships/image" Target="../media/image36.jpg"/><Relationship Id="rId1" Type="http://schemas.openxmlformats.org/officeDocument/2006/relationships/slideLayout" Target="../slideLayouts/slideLayout10.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jpeg"/><Relationship Id="rId10" Type="http://schemas.openxmlformats.org/officeDocument/2006/relationships/image" Target="../media/image26.jpeg"/><Relationship Id="rId19" Type="http://schemas.openxmlformats.org/officeDocument/2006/relationships/image" Target="../media/image35.jpeg"/><Relationship Id="rId4" Type="http://schemas.openxmlformats.org/officeDocument/2006/relationships/image" Target="../media/image20.jpeg"/><Relationship Id="rId9" Type="http://schemas.openxmlformats.org/officeDocument/2006/relationships/image" Target="../media/image25.jpeg"/><Relationship Id="rId1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Tijdelijke aanduiding voor afbeelding 17" descr="Afbeelding met persoon&#10;&#10;Automatisch gegenereerde beschrijving">
            <a:extLst>
              <a:ext uri="{FF2B5EF4-FFF2-40B4-BE49-F238E27FC236}">
                <a16:creationId xmlns:a16="http://schemas.microsoft.com/office/drawing/2014/main" id="{B1151471-64BF-4922-82F0-36BC0529E27D}"/>
              </a:ext>
            </a:extLst>
          </p:cNvPr>
          <p:cNvPicPr>
            <a:picLocks noChangeAspect="1"/>
          </p:cNvPicPr>
          <p:nvPr/>
        </p:nvPicPr>
        <p:blipFill>
          <a:blip r:embed="rId2">
            <a:extLst>
              <a:ext uri="{28A0092B-C50C-407E-A947-70E740481C1C}">
                <a14:useLocalDpi xmlns:a14="http://schemas.microsoft.com/office/drawing/2010/main" val="0"/>
              </a:ext>
            </a:extLst>
          </a:blip>
          <a:srcRect l="16670" r="16670"/>
          <a:stretch>
            <a:fillRect/>
          </a:stretch>
        </p:blipFill>
        <p:spPr>
          <a:xfrm>
            <a:off x="532984" y="255432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7" name="Tijdelijke aanduiding voor afbeelding 23" descr="Afbeelding met persoon, person, binnen&#10;&#10;Automatisch gegenereerde beschrijving">
            <a:extLst>
              <a:ext uri="{FF2B5EF4-FFF2-40B4-BE49-F238E27FC236}">
                <a16:creationId xmlns:a16="http://schemas.microsoft.com/office/drawing/2014/main" id="{D0944361-1BA2-40FB-B4A4-9970A8694D00}"/>
              </a:ext>
            </a:extLst>
          </p:cNvPr>
          <p:cNvPicPr>
            <a:picLocks noChangeAspect="1"/>
          </p:cNvPicPr>
          <p:nvPr/>
        </p:nvPicPr>
        <p:blipFill>
          <a:blip r:embed="rId3">
            <a:extLst>
              <a:ext uri="{28A0092B-C50C-407E-A947-70E740481C1C}">
                <a14:useLocalDpi xmlns:a14="http://schemas.microsoft.com/office/drawing/2010/main" val="0"/>
              </a:ext>
            </a:extLst>
          </a:blip>
          <a:srcRect l="16670" r="16670"/>
          <a:stretch>
            <a:fillRect/>
          </a:stretch>
        </p:blipFill>
        <p:spPr>
          <a:xfrm>
            <a:off x="2492543" y="255432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8" name="Tijdelijke aanduiding voor afbeelding 25" descr="Afbeelding met persoon, vrouw&#10;&#10;Automatisch gegenereerde beschrijving">
            <a:extLst>
              <a:ext uri="{FF2B5EF4-FFF2-40B4-BE49-F238E27FC236}">
                <a16:creationId xmlns:a16="http://schemas.microsoft.com/office/drawing/2014/main" id="{D8FE0926-58F9-41B3-9447-D2C993B7B3FA}"/>
              </a:ext>
            </a:extLst>
          </p:cNvPr>
          <p:cNvPicPr>
            <a:picLocks noChangeAspect="1"/>
          </p:cNvPicPr>
          <p:nvPr/>
        </p:nvPicPr>
        <p:blipFill>
          <a:blip r:embed="rId4">
            <a:extLst>
              <a:ext uri="{28A0092B-C50C-407E-A947-70E740481C1C}">
                <a14:useLocalDpi xmlns:a14="http://schemas.microsoft.com/office/drawing/2010/main" val="0"/>
              </a:ext>
            </a:extLst>
          </a:blip>
          <a:srcRect l="16670" r="16670"/>
          <a:stretch>
            <a:fillRect/>
          </a:stretch>
        </p:blipFill>
        <p:spPr>
          <a:xfrm>
            <a:off x="6411661" y="255432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9" name="Tijdelijke aanduiding voor afbeelding 27" descr="Afbeelding met persoon, person, kostuum&#10;&#10;Automatisch gegenereerde beschrijving">
            <a:extLst>
              <a:ext uri="{FF2B5EF4-FFF2-40B4-BE49-F238E27FC236}">
                <a16:creationId xmlns:a16="http://schemas.microsoft.com/office/drawing/2014/main" id="{5BCBD7FC-D59E-4585-930C-3E44E0690365}"/>
              </a:ext>
            </a:extLst>
          </p:cNvPr>
          <p:cNvPicPr>
            <a:picLocks noChangeAspect="1"/>
          </p:cNvPicPr>
          <p:nvPr/>
        </p:nvPicPr>
        <p:blipFill>
          <a:blip r:embed="rId5">
            <a:extLst>
              <a:ext uri="{28A0092B-C50C-407E-A947-70E740481C1C}">
                <a14:useLocalDpi xmlns:a14="http://schemas.microsoft.com/office/drawing/2010/main" val="0"/>
              </a:ext>
            </a:extLst>
          </a:blip>
          <a:srcRect l="16670" r="16670"/>
          <a:stretch>
            <a:fillRect/>
          </a:stretch>
        </p:blipFill>
        <p:spPr>
          <a:xfrm>
            <a:off x="8371220" y="255432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14" name="Tijdelijke aanduiding voor afbeelding 17" descr="Afbeelding met persoon&#10;&#10;Automatisch gegenereerde beschrijving">
            <a:extLst>
              <a:ext uri="{FF2B5EF4-FFF2-40B4-BE49-F238E27FC236}">
                <a16:creationId xmlns:a16="http://schemas.microsoft.com/office/drawing/2014/main" id="{84B85B2E-5D96-44DD-BF03-6AC590A020CF}"/>
              </a:ext>
            </a:extLst>
          </p:cNvPr>
          <p:cNvPicPr>
            <a:picLocks noChangeAspect="1"/>
          </p:cNvPicPr>
          <p:nvPr/>
        </p:nvPicPr>
        <p:blipFill>
          <a:blip r:embed="rId6">
            <a:extLst>
              <a:ext uri="{28A0092B-C50C-407E-A947-70E740481C1C}">
                <a14:useLocalDpi xmlns:a14="http://schemas.microsoft.com/office/drawing/2010/main" val="0"/>
              </a:ext>
            </a:extLst>
          </a:blip>
          <a:srcRect l="16670" r="16670"/>
          <a:stretch>
            <a:fillRect/>
          </a:stretch>
        </p:blipFill>
        <p:spPr>
          <a:xfrm>
            <a:off x="10330778" y="255432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pic>
      <p:sp>
        <p:nvSpPr>
          <p:cNvPr id="19" name="Tekstvak 18">
            <a:extLst>
              <a:ext uri="{FF2B5EF4-FFF2-40B4-BE49-F238E27FC236}">
                <a16:creationId xmlns:a16="http://schemas.microsoft.com/office/drawing/2014/main" id="{541B0B62-E40B-46E6-98A8-D20252C57E48}"/>
              </a:ext>
            </a:extLst>
          </p:cNvPr>
          <p:cNvSpPr txBox="1"/>
          <p:nvPr/>
        </p:nvSpPr>
        <p:spPr>
          <a:xfrm flipH="1">
            <a:off x="326195" y="4198172"/>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Jonna Luijten </a:t>
            </a:r>
          </a:p>
        </p:txBody>
      </p:sp>
      <p:sp>
        <p:nvSpPr>
          <p:cNvPr id="20" name="Tekstvak 19">
            <a:extLst>
              <a:ext uri="{FF2B5EF4-FFF2-40B4-BE49-F238E27FC236}">
                <a16:creationId xmlns:a16="http://schemas.microsoft.com/office/drawing/2014/main" id="{B1056926-9067-4870-B7A4-0276A1708512}"/>
              </a:ext>
            </a:extLst>
          </p:cNvPr>
          <p:cNvSpPr txBox="1"/>
          <p:nvPr/>
        </p:nvSpPr>
        <p:spPr>
          <a:xfrm flipH="1">
            <a:off x="2404410" y="4198172"/>
            <a:ext cx="1613745"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Arnoud van Waes</a:t>
            </a:r>
          </a:p>
        </p:txBody>
      </p:sp>
      <p:sp>
        <p:nvSpPr>
          <p:cNvPr id="21" name="Tekstvak 20">
            <a:extLst>
              <a:ext uri="{FF2B5EF4-FFF2-40B4-BE49-F238E27FC236}">
                <a16:creationId xmlns:a16="http://schemas.microsoft.com/office/drawing/2014/main" id="{C304A60D-D596-4A14-B83F-C9DDC48291AE}"/>
              </a:ext>
            </a:extLst>
          </p:cNvPr>
          <p:cNvSpPr txBox="1"/>
          <p:nvPr/>
        </p:nvSpPr>
        <p:spPr>
          <a:xfrm flipH="1">
            <a:off x="6360140" y="4198172"/>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Zenzi Pluut</a:t>
            </a:r>
          </a:p>
        </p:txBody>
      </p:sp>
      <p:sp>
        <p:nvSpPr>
          <p:cNvPr id="22" name="Tekstvak 21">
            <a:extLst>
              <a:ext uri="{FF2B5EF4-FFF2-40B4-BE49-F238E27FC236}">
                <a16:creationId xmlns:a16="http://schemas.microsoft.com/office/drawing/2014/main" id="{54A7B813-D452-46F1-BA18-32DA23462421}"/>
              </a:ext>
            </a:extLst>
          </p:cNvPr>
          <p:cNvSpPr txBox="1"/>
          <p:nvPr/>
        </p:nvSpPr>
        <p:spPr>
          <a:xfrm flipH="1">
            <a:off x="8247555" y="4198172"/>
            <a:ext cx="1516012" cy="244298"/>
          </a:xfrm>
          <a:prstGeom prst="rect">
            <a:avLst/>
          </a:prstGeom>
          <a:noFill/>
        </p:spPr>
        <p:txBody>
          <a:bodyPr wrap="square" lIns="0" tIns="0" rIns="0" bIns="0" rtlCol="0">
            <a:spAutoFit/>
          </a:bodyPr>
          <a:lstStyle/>
          <a:p>
            <a:pPr algn="ctr">
              <a:lnSpc>
                <a:spcPct val="126000"/>
              </a:lnSpc>
            </a:pPr>
            <a:r>
              <a:rPr lang="nl-NL" sz="1400" b="1">
                <a:solidFill>
                  <a:schemeClr val="accent1"/>
                </a:solidFill>
              </a:rPr>
              <a:t>Wietse Kruijsse</a:t>
            </a:r>
          </a:p>
        </p:txBody>
      </p:sp>
      <p:sp>
        <p:nvSpPr>
          <p:cNvPr id="23" name="Tekstvak 22">
            <a:extLst>
              <a:ext uri="{FF2B5EF4-FFF2-40B4-BE49-F238E27FC236}">
                <a16:creationId xmlns:a16="http://schemas.microsoft.com/office/drawing/2014/main" id="{76624138-7C49-4424-801A-08C629ACA194}"/>
              </a:ext>
            </a:extLst>
          </p:cNvPr>
          <p:cNvSpPr txBox="1"/>
          <p:nvPr/>
        </p:nvSpPr>
        <p:spPr>
          <a:xfrm flipH="1">
            <a:off x="10268772" y="4198172"/>
            <a:ext cx="1744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Hanna Rentmeester</a:t>
            </a:r>
          </a:p>
        </p:txBody>
      </p:sp>
      <p:pic>
        <p:nvPicPr>
          <p:cNvPr id="24" name="Tijdelijke aanduiding voor afbeelding 17" descr="Afbeelding met persoon, person, kostuum, bedrijf&#10;&#10;Automatisch gegenereerde beschrijving">
            <a:extLst>
              <a:ext uri="{FF2B5EF4-FFF2-40B4-BE49-F238E27FC236}">
                <a16:creationId xmlns:a16="http://schemas.microsoft.com/office/drawing/2014/main" id="{A6DBA4EF-1434-4330-A6F5-E1BCC89DCE02}"/>
              </a:ext>
            </a:extLst>
          </p:cNvPr>
          <p:cNvPicPr>
            <a:picLocks noChangeAspect="1"/>
          </p:cNvPicPr>
          <p:nvPr/>
        </p:nvPicPr>
        <p:blipFill>
          <a:blip r:embed="rId7">
            <a:extLst>
              <a:ext uri="{28A0092B-C50C-407E-A947-70E740481C1C}">
                <a14:useLocalDpi xmlns:a14="http://schemas.microsoft.com/office/drawing/2010/main" val="0"/>
              </a:ext>
            </a:extLst>
          </a:blip>
          <a:srcRect l="16660" r="16660"/>
          <a:stretch>
            <a:fillRect/>
          </a:stretch>
        </p:blipFill>
        <p:spPr>
          <a:xfrm>
            <a:off x="248888" y="520871"/>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25" name="Tijdelijke aanduiding voor afbeelding 19" descr="Afbeelding met persoon&#10;&#10;Automatisch gegenereerde beschrijving">
            <a:extLst>
              <a:ext uri="{FF2B5EF4-FFF2-40B4-BE49-F238E27FC236}">
                <a16:creationId xmlns:a16="http://schemas.microsoft.com/office/drawing/2014/main" id="{DF297E3B-9CF3-42B1-B5F4-3697A2BB32F1}"/>
              </a:ext>
            </a:extLst>
          </p:cNvPr>
          <p:cNvPicPr>
            <a:picLocks noChangeAspect="1"/>
          </p:cNvPicPr>
          <p:nvPr/>
        </p:nvPicPr>
        <p:blipFill>
          <a:blip r:embed="rId8">
            <a:extLst>
              <a:ext uri="{28A0092B-C50C-407E-A947-70E740481C1C}">
                <a14:useLocalDpi xmlns:a14="http://schemas.microsoft.com/office/drawing/2010/main" val="0"/>
              </a:ext>
            </a:extLst>
          </a:blip>
          <a:srcRect l="16670" r="16670"/>
          <a:stretch>
            <a:fillRect/>
          </a:stretch>
        </p:blipFill>
        <p:spPr>
          <a:xfrm>
            <a:off x="1960275" y="520871"/>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27" name="Tijdelijke aanduiding voor afbeelding 23" descr="Afbeelding met muur, persoon, binnen, vrouw&#10;&#10;Automatisch gegenereerde beschrijving">
            <a:extLst>
              <a:ext uri="{FF2B5EF4-FFF2-40B4-BE49-F238E27FC236}">
                <a16:creationId xmlns:a16="http://schemas.microsoft.com/office/drawing/2014/main" id="{F8F2D6C6-E9AD-4618-80F7-E59378C88D96}"/>
              </a:ext>
            </a:extLst>
          </p:cNvPr>
          <p:cNvPicPr>
            <a:picLocks noChangeAspect="1"/>
          </p:cNvPicPr>
          <p:nvPr/>
        </p:nvPicPr>
        <p:blipFill>
          <a:blip r:embed="rId9">
            <a:extLst>
              <a:ext uri="{28A0092B-C50C-407E-A947-70E740481C1C}">
                <a14:useLocalDpi xmlns:a14="http://schemas.microsoft.com/office/drawing/2010/main" val="0"/>
              </a:ext>
            </a:extLst>
          </a:blip>
          <a:srcRect l="16721" r="16721"/>
          <a:stretch>
            <a:fillRect/>
          </a:stretch>
        </p:blipFill>
        <p:spPr>
          <a:xfrm>
            <a:off x="7094436" y="520871"/>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28" name="Tijdelijke aanduiding voor afbeelding 23" descr="Afbeelding met persoon, person&#10;&#10;Automatisch gegenereerde beschrijving">
            <a:extLst>
              <a:ext uri="{FF2B5EF4-FFF2-40B4-BE49-F238E27FC236}">
                <a16:creationId xmlns:a16="http://schemas.microsoft.com/office/drawing/2014/main" id="{C97B9959-9560-4350-ACFA-9E168245C37E}"/>
              </a:ext>
            </a:extLst>
          </p:cNvPr>
          <p:cNvPicPr>
            <a:picLocks noChangeAspect="1"/>
          </p:cNvPicPr>
          <p:nvPr/>
        </p:nvPicPr>
        <p:blipFill>
          <a:blip r:embed="rId10">
            <a:extLst>
              <a:ext uri="{28A0092B-C50C-407E-A947-70E740481C1C}">
                <a14:useLocalDpi xmlns:a14="http://schemas.microsoft.com/office/drawing/2010/main" val="0"/>
              </a:ext>
            </a:extLst>
          </a:blip>
          <a:srcRect l="16660" r="16660"/>
          <a:stretch>
            <a:fillRect/>
          </a:stretch>
        </p:blipFill>
        <p:spPr>
          <a:xfrm>
            <a:off x="8805823" y="520871"/>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pic>
      <p:pic>
        <p:nvPicPr>
          <p:cNvPr id="29" name="Tijdelijke aanduiding voor afbeelding 21" descr="Afbeelding met persoon, kleding&#10;&#10;Automatisch gegenereerde beschrijving">
            <a:extLst>
              <a:ext uri="{FF2B5EF4-FFF2-40B4-BE49-F238E27FC236}">
                <a16:creationId xmlns:a16="http://schemas.microsoft.com/office/drawing/2014/main" id="{9B165CC0-B393-4E61-9762-A1C9A4D866D8}"/>
              </a:ext>
            </a:extLst>
          </p:cNvPr>
          <p:cNvPicPr>
            <a:picLocks noChangeAspect="1"/>
          </p:cNvPicPr>
          <p:nvPr/>
        </p:nvPicPr>
        <p:blipFill>
          <a:blip r:embed="rId11">
            <a:extLst>
              <a:ext uri="{28A0092B-C50C-407E-A947-70E740481C1C}">
                <a14:useLocalDpi xmlns:a14="http://schemas.microsoft.com/office/drawing/2010/main" val="0"/>
              </a:ext>
            </a:extLst>
          </a:blip>
          <a:srcRect l="16670" r="16670"/>
          <a:stretch>
            <a:fillRect/>
          </a:stretch>
        </p:blipFill>
        <p:spPr>
          <a:xfrm>
            <a:off x="10517211" y="520871"/>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pic>
      <p:sp>
        <p:nvSpPr>
          <p:cNvPr id="36" name="Tekstvak 35">
            <a:extLst>
              <a:ext uri="{FF2B5EF4-FFF2-40B4-BE49-F238E27FC236}">
                <a16:creationId xmlns:a16="http://schemas.microsoft.com/office/drawing/2014/main" id="{36B26112-EDF6-4A14-B87D-16666235148F}"/>
              </a:ext>
            </a:extLst>
          </p:cNvPr>
          <p:cNvSpPr txBox="1"/>
          <p:nvPr/>
        </p:nvSpPr>
        <p:spPr>
          <a:xfrm flipH="1">
            <a:off x="59843" y="2145818"/>
            <a:ext cx="1620000"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Guus van Leerdam </a:t>
            </a:r>
          </a:p>
        </p:txBody>
      </p:sp>
      <p:sp>
        <p:nvSpPr>
          <p:cNvPr id="37" name="Tekstvak 36">
            <a:extLst>
              <a:ext uri="{FF2B5EF4-FFF2-40B4-BE49-F238E27FC236}">
                <a16:creationId xmlns:a16="http://schemas.microsoft.com/office/drawing/2014/main" id="{7F8BB427-4862-4DBE-B856-A4B4C2139129}"/>
              </a:ext>
            </a:extLst>
          </p:cNvPr>
          <p:cNvSpPr txBox="1"/>
          <p:nvPr/>
        </p:nvSpPr>
        <p:spPr>
          <a:xfrm flipH="1">
            <a:off x="1831303" y="2145818"/>
            <a:ext cx="1688551"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Hannah Plandsoen</a:t>
            </a:r>
          </a:p>
        </p:txBody>
      </p:sp>
      <p:sp>
        <p:nvSpPr>
          <p:cNvPr id="38" name="Tekstvak 37">
            <a:extLst>
              <a:ext uri="{FF2B5EF4-FFF2-40B4-BE49-F238E27FC236}">
                <a16:creationId xmlns:a16="http://schemas.microsoft.com/office/drawing/2014/main" id="{82A46BAA-1298-41B8-939D-E847F74A2042}"/>
              </a:ext>
            </a:extLst>
          </p:cNvPr>
          <p:cNvSpPr txBox="1"/>
          <p:nvPr/>
        </p:nvSpPr>
        <p:spPr>
          <a:xfrm flipH="1">
            <a:off x="3671315" y="2174555"/>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Frank Velthuis</a:t>
            </a:r>
          </a:p>
        </p:txBody>
      </p:sp>
      <p:sp>
        <p:nvSpPr>
          <p:cNvPr id="39" name="Tekstvak 38">
            <a:extLst>
              <a:ext uri="{FF2B5EF4-FFF2-40B4-BE49-F238E27FC236}">
                <a16:creationId xmlns:a16="http://schemas.microsoft.com/office/drawing/2014/main" id="{2B49EEC1-520F-491C-AF49-8270EF41C5B0}"/>
              </a:ext>
            </a:extLst>
          </p:cNvPr>
          <p:cNvSpPr txBox="1"/>
          <p:nvPr/>
        </p:nvSpPr>
        <p:spPr>
          <a:xfrm flipH="1">
            <a:off x="7006261" y="2174555"/>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Iluska Rodenburg</a:t>
            </a:r>
          </a:p>
        </p:txBody>
      </p:sp>
      <p:sp>
        <p:nvSpPr>
          <p:cNvPr id="40" name="Tekstvak 39">
            <a:extLst>
              <a:ext uri="{FF2B5EF4-FFF2-40B4-BE49-F238E27FC236}">
                <a16:creationId xmlns:a16="http://schemas.microsoft.com/office/drawing/2014/main" id="{1A14917C-7642-48DC-9642-BE2C70040C22}"/>
              </a:ext>
            </a:extLst>
          </p:cNvPr>
          <p:cNvSpPr txBox="1"/>
          <p:nvPr/>
        </p:nvSpPr>
        <p:spPr>
          <a:xfrm flipH="1">
            <a:off x="8673734" y="2174555"/>
            <a:ext cx="1744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Mike van Moerkerk</a:t>
            </a:r>
          </a:p>
        </p:txBody>
      </p:sp>
      <p:sp>
        <p:nvSpPr>
          <p:cNvPr id="41" name="Tekstvak 40">
            <a:extLst>
              <a:ext uri="{FF2B5EF4-FFF2-40B4-BE49-F238E27FC236}">
                <a16:creationId xmlns:a16="http://schemas.microsoft.com/office/drawing/2014/main" id="{FC6EE4A4-8D87-492C-89BE-D83FEDA69F89}"/>
              </a:ext>
            </a:extLst>
          </p:cNvPr>
          <p:cNvSpPr txBox="1"/>
          <p:nvPr/>
        </p:nvSpPr>
        <p:spPr>
          <a:xfrm flipH="1">
            <a:off x="10569205" y="2174555"/>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Linde van de Kuijt</a:t>
            </a:r>
          </a:p>
        </p:txBody>
      </p:sp>
      <p:pic>
        <p:nvPicPr>
          <p:cNvPr id="46" name="Tijdelijke aanduiding voor afbeelding 17" descr="Afbeelding met binnen&#10;&#10;Automatisch gegenereerde beschrijving">
            <a:extLst>
              <a:ext uri="{FF2B5EF4-FFF2-40B4-BE49-F238E27FC236}">
                <a16:creationId xmlns:a16="http://schemas.microsoft.com/office/drawing/2014/main" id="{58372347-7A96-4BCE-A430-E40D8A6062CF}"/>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a:xfrm>
            <a:off x="532984" y="457317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47" name="Tijdelijke aanduiding voor afbeelding 33" descr="Afbeelding met persoon&#10;&#10;Automatisch gegenereerde beschrijving">
            <a:extLst>
              <a:ext uri="{FF2B5EF4-FFF2-40B4-BE49-F238E27FC236}">
                <a16:creationId xmlns:a16="http://schemas.microsoft.com/office/drawing/2014/main" id="{4E597081-F99E-4530-9FB5-63501FF38F0E}"/>
              </a:ext>
            </a:extLst>
          </p:cNvPr>
          <p:cNvPicPr>
            <a:picLocks noChangeAspect="1"/>
          </p:cNvPicPr>
          <p:nvPr/>
        </p:nvPicPr>
        <p:blipFill>
          <a:blip r:embed="rId13">
            <a:extLst>
              <a:ext uri="{28A0092B-C50C-407E-A947-70E740481C1C}">
                <a14:useLocalDpi xmlns:a14="http://schemas.microsoft.com/office/drawing/2010/main" val="0"/>
              </a:ext>
            </a:extLst>
          </a:blip>
          <a:srcRect l="16660" r="16660"/>
          <a:stretch>
            <a:fillRect/>
          </a:stretch>
        </p:blipFill>
        <p:spPr>
          <a:xfrm>
            <a:off x="6396120" y="457317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48" name="Tijdelijke aanduiding voor afbeelding 41" descr="Afbeelding met persoon, person&#10;&#10;Automatisch gegenereerde beschrijving">
            <a:extLst>
              <a:ext uri="{FF2B5EF4-FFF2-40B4-BE49-F238E27FC236}">
                <a16:creationId xmlns:a16="http://schemas.microsoft.com/office/drawing/2014/main" id="{AC065891-F099-4582-914C-53E6C911EB15}"/>
              </a:ext>
            </a:extLst>
          </p:cNvPr>
          <p:cNvPicPr>
            <a:picLocks noChangeAspect="1"/>
          </p:cNvPicPr>
          <p:nvPr/>
        </p:nvPicPr>
        <p:blipFill>
          <a:blip r:embed="rId14">
            <a:extLst>
              <a:ext uri="{28A0092B-C50C-407E-A947-70E740481C1C}">
                <a14:useLocalDpi xmlns:a14="http://schemas.microsoft.com/office/drawing/2010/main" val="0"/>
              </a:ext>
            </a:extLst>
          </a:blip>
          <a:srcRect l="16670" r="16670"/>
          <a:stretch>
            <a:fillRect/>
          </a:stretch>
        </p:blipFill>
        <p:spPr>
          <a:xfrm>
            <a:off x="4388924" y="457317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49" name="Tijdelijke aanduiding voor afbeelding 39" descr="Afbeelding met persoon, buiten&#10;&#10;Automatisch gegenereerde beschrijving">
            <a:extLst>
              <a:ext uri="{FF2B5EF4-FFF2-40B4-BE49-F238E27FC236}">
                <a16:creationId xmlns:a16="http://schemas.microsoft.com/office/drawing/2014/main" id="{E4870BF6-83CD-4599-A3EA-E70873C55475}"/>
              </a:ext>
            </a:extLst>
          </p:cNvPr>
          <p:cNvPicPr>
            <a:picLocks noChangeAspect="1"/>
          </p:cNvPicPr>
          <p:nvPr/>
        </p:nvPicPr>
        <p:blipFill>
          <a:blip r:embed="rId15">
            <a:extLst>
              <a:ext uri="{28A0092B-C50C-407E-A947-70E740481C1C}">
                <a14:useLocalDpi xmlns:a14="http://schemas.microsoft.com/office/drawing/2010/main" val="0"/>
              </a:ext>
            </a:extLst>
          </a:blip>
          <a:srcRect l="16670" r="16670"/>
          <a:stretch>
            <a:fillRect/>
          </a:stretch>
        </p:blipFill>
        <p:spPr>
          <a:xfrm>
            <a:off x="2506335" y="457317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pic>
        <p:nvPicPr>
          <p:cNvPr id="50" name="Tijdelijke aanduiding voor afbeelding 17" descr="Afbeelding met persoon&#10;&#10;Automatisch gegenereerde beschrijving">
            <a:extLst>
              <a:ext uri="{FF2B5EF4-FFF2-40B4-BE49-F238E27FC236}">
                <a16:creationId xmlns:a16="http://schemas.microsoft.com/office/drawing/2014/main" id="{BCB69490-6F03-4DF1-9DF0-7CF68F9EBA3C}"/>
              </a:ext>
            </a:extLst>
          </p:cNvPr>
          <p:cNvPicPr>
            <a:picLocks noChangeAspect="1"/>
          </p:cNvPicPr>
          <p:nvPr/>
        </p:nvPicPr>
        <p:blipFill>
          <a:blip r:embed="rId16">
            <a:extLst>
              <a:ext uri="{28A0092B-C50C-407E-A947-70E740481C1C}">
                <a14:useLocalDpi xmlns:a14="http://schemas.microsoft.com/office/drawing/2010/main" val="0"/>
              </a:ext>
            </a:extLst>
          </a:blip>
          <a:srcRect l="16670" r="16670"/>
          <a:stretch>
            <a:fillRect/>
          </a:stretch>
        </p:blipFill>
        <p:spPr>
          <a:xfrm>
            <a:off x="8388736" y="457317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pic>
      <p:pic>
        <p:nvPicPr>
          <p:cNvPr id="51" name="Tijdelijke aanduiding voor afbeelding 19" descr="Afbeelding met persoon&#10;&#10;Automatisch gegenereerde beschrijving">
            <a:extLst>
              <a:ext uri="{FF2B5EF4-FFF2-40B4-BE49-F238E27FC236}">
                <a16:creationId xmlns:a16="http://schemas.microsoft.com/office/drawing/2014/main" id="{7A008A6F-56ED-40A4-9718-B91A2701576C}"/>
              </a:ext>
            </a:extLst>
          </p:cNvPr>
          <p:cNvPicPr>
            <a:picLocks noChangeAspect="1"/>
          </p:cNvPicPr>
          <p:nvPr/>
        </p:nvPicPr>
        <p:blipFill>
          <a:blip r:embed="rId17">
            <a:extLst>
              <a:ext uri="{28A0092B-C50C-407E-A947-70E740481C1C}">
                <a14:useLocalDpi xmlns:a14="http://schemas.microsoft.com/office/drawing/2010/main" val="0"/>
              </a:ext>
            </a:extLst>
          </a:blip>
          <a:srcRect l="16660" r="16660"/>
          <a:stretch>
            <a:fillRect/>
          </a:stretch>
        </p:blipFill>
        <p:spPr>
          <a:xfrm>
            <a:off x="10330778" y="457317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a:solidFill>
            <a:schemeClr val="bg1">
              <a:lumMod val="95000"/>
            </a:schemeClr>
          </a:solidFill>
        </p:spPr>
      </p:pic>
      <p:sp>
        <p:nvSpPr>
          <p:cNvPr id="52" name="Tekstvak 51">
            <a:extLst>
              <a:ext uri="{FF2B5EF4-FFF2-40B4-BE49-F238E27FC236}">
                <a16:creationId xmlns:a16="http://schemas.microsoft.com/office/drawing/2014/main" id="{2412B043-9905-4149-8458-0D065719FD05}"/>
              </a:ext>
            </a:extLst>
          </p:cNvPr>
          <p:cNvSpPr txBox="1"/>
          <p:nvPr/>
        </p:nvSpPr>
        <p:spPr>
          <a:xfrm flipH="1">
            <a:off x="532984" y="6214686"/>
            <a:ext cx="1620000"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Clenda Nagtegaal</a:t>
            </a:r>
          </a:p>
        </p:txBody>
      </p:sp>
      <p:sp>
        <p:nvSpPr>
          <p:cNvPr id="53" name="Tekstvak 52">
            <a:extLst>
              <a:ext uri="{FF2B5EF4-FFF2-40B4-BE49-F238E27FC236}">
                <a16:creationId xmlns:a16="http://schemas.microsoft.com/office/drawing/2014/main" id="{97C59F54-A59E-4199-BB23-00C23FA81B99}"/>
              </a:ext>
            </a:extLst>
          </p:cNvPr>
          <p:cNvSpPr txBox="1"/>
          <p:nvPr/>
        </p:nvSpPr>
        <p:spPr>
          <a:xfrm flipH="1">
            <a:off x="2472060" y="6214686"/>
            <a:ext cx="1688551" cy="515782"/>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Floor </a:t>
            </a:r>
            <a:r>
              <a:rPr lang="nl-NL" sz="1400" b="1" dirty="0" err="1">
                <a:solidFill>
                  <a:schemeClr val="accent1"/>
                </a:solidFill>
              </a:rPr>
              <a:t>hooge</a:t>
            </a:r>
            <a:r>
              <a:rPr lang="nl-NL" sz="1400" b="1" dirty="0">
                <a:solidFill>
                  <a:schemeClr val="accent1"/>
                </a:solidFill>
              </a:rPr>
              <a:t> Venterink</a:t>
            </a:r>
          </a:p>
        </p:txBody>
      </p:sp>
      <p:sp>
        <p:nvSpPr>
          <p:cNvPr id="54" name="Tekstvak 53">
            <a:extLst>
              <a:ext uri="{FF2B5EF4-FFF2-40B4-BE49-F238E27FC236}">
                <a16:creationId xmlns:a16="http://schemas.microsoft.com/office/drawing/2014/main" id="{34805EAF-15DC-4913-9697-54A190C1E085}"/>
              </a:ext>
            </a:extLst>
          </p:cNvPr>
          <p:cNvSpPr txBox="1"/>
          <p:nvPr/>
        </p:nvSpPr>
        <p:spPr>
          <a:xfrm flipH="1">
            <a:off x="4440918" y="6214686"/>
            <a:ext cx="1516012" cy="244298"/>
          </a:xfrm>
          <a:prstGeom prst="rect">
            <a:avLst/>
          </a:prstGeom>
          <a:noFill/>
        </p:spPr>
        <p:txBody>
          <a:bodyPr wrap="square" lIns="0" tIns="0" rIns="0" bIns="0" rtlCol="0">
            <a:spAutoFit/>
          </a:bodyPr>
          <a:lstStyle/>
          <a:p>
            <a:pPr algn="ctr">
              <a:lnSpc>
                <a:spcPct val="126000"/>
              </a:lnSpc>
            </a:pPr>
            <a:r>
              <a:rPr lang="nl-NL" sz="1400" b="1">
                <a:solidFill>
                  <a:schemeClr val="accent1"/>
                </a:solidFill>
              </a:rPr>
              <a:t>Nico de Meester</a:t>
            </a:r>
          </a:p>
        </p:txBody>
      </p:sp>
      <p:sp>
        <p:nvSpPr>
          <p:cNvPr id="55" name="Tekstvak 54">
            <a:extLst>
              <a:ext uri="{FF2B5EF4-FFF2-40B4-BE49-F238E27FC236}">
                <a16:creationId xmlns:a16="http://schemas.microsoft.com/office/drawing/2014/main" id="{DD861D9E-7C46-4118-9A9B-AFE42B1FCA40}"/>
              </a:ext>
            </a:extLst>
          </p:cNvPr>
          <p:cNvSpPr txBox="1"/>
          <p:nvPr/>
        </p:nvSpPr>
        <p:spPr>
          <a:xfrm flipH="1">
            <a:off x="6448114" y="6214686"/>
            <a:ext cx="1516012" cy="244298"/>
          </a:xfrm>
          <a:prstGeom prst="rect">
            <a:avLst/>
          </a:prstGeom>
          <a:noFill/>
        </p:spPr>
        <p:txBody>
          <a:bodyPr wrap="square" lIns="0" tIns="0" rIns="0" bIns="0" rtlCol="0">
            <a:spAutoFit/>
          </a:bodyPr>
          <a:lstStyle/>
          <a:p>
            <a:pPr algn="ctr">
              <a:lnSpc>
                <a:spcPct val="126000"/>
              </a:lnSpc>
            </a:pPr>
            <a:r>
              <a:rPr lang="nl-NL" sz="1400" b="1">
                <a:solidFill>
                  <a:schemeClr val="accent1"/>
                </a:solidFill>
              </a:rPr>
              <a:t>Marieke von Berg</a:t>
            </a:r>
          </a:p>
        </p:txBody>
      </p:sp>
      <p:sp>
        <p:nvSpPr>
          <p:cNvPr id="56" name="Tekstvak 55">
            <a:extLst>
              <a:ext uri="{FF2B5EF4-FFF2-40B4-BE49-F238E27FC236}">
                <a16:creationId xmlns:a16="http://schemas.microsoft.com/office/drawing/2014/main" id="{318A5F18-66D9-4BBC-B215-17F48F5B394D}"/>
              </a:ext>
            </a:extLst>
          </p:cNvPr>
          <p:cNvSpPr txBox="1"/>
          <p:nvPr/>
        </p:nvSpPr>
        <p:spPr>
          <a:xfrm flipH="1">
            <a:off x="8326730" y="6214686"/>
            <a:ext cx="1744012" cy="244298"/>
          </a:xfrm>
          <a:prstGeom prst="rect">
            <a:avLst/>
          </a:prstGeom>
          <a:noFill/>
        </p:spPr>
        <p:txBody>
          <a:bodyPr wrap="square" lIns="0" tIns="0" rIns="0" bIns="0" rtlCol="0">
            <a:spAutoFit/>
          </a:bodyPr>
          <a:lstStyle/>
          <a:p>
            <a:pPr algn="ctr">
              <a:lnSpc>
                <a:spcPct val="126000"/>
              </a:lnSpc>
            </a:pPr>
            <a:r>
              <a:rPr lang="nl-NL" sz="1400" b="1">
                <a:solidFill>
                  <a:schemeClr val="accent1"/>
                </a:solidFill>
              </a:rPr>
              <a:t>Sophie de Jong</a:t>
            </a:r>
          </a:p>
        </p:txBody>
      </p:sp>
      <p:sp>
        <p:nvSpPr>
          <p:cNvPr id="57" name="Tekstvak 56">
            <a:extLst>
              <a:ext uri="{FF2B5EF4-FFF2-40B4-BE49-F238E27FC236}">
                <a16:creationId xmlns:a16="http://schemas.microsoft.com/office/drawing/2014/main" id="{44050C8C-FEF2-42D7-BAF9-835A1F298337}"/>
              </a:ext>
            </a:extLst>
          </p:cNvPr>
          <p:cNvSpPr txBox="1"/>
          <p:nvPr/>
        </p:nvSpPr>
        <p:spPr>
          <a:xfrm flipH="1">
            <a:off x="10293355" y="6214686"/>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Freija Rappoldt</a:t>
            </a:r>
          </a:p>
        </p:txBody>
      </p:sp>
      <p:sp>
        <p:nvSpPr>
          <p:cNvPr id="42" name="Titel 4">
            <a:extLst>
              <a:ext uri="{FF2B5EF4-FFF2-40B4-BE49-F238E27FC236}">
                <a16:creationId xmlns:a16="http://schemas.microsoft.com/office/drawing/2014/main" id="{D5EF2321-4710-496B-9FDD-4C2B36B06FCA}"/>
              </a:ext>
            </a:extLst>
          </p:cNvPr>
          <p:cNvSpPr>
            <a:spLocks noGrp="1"/>
          </p:cNvSpPr>
          <p:nvPr>
            <p:ph type="title"/>
          </p:nvPr>
        </p:nvSpPr>
        <p:spPr>
          <a:xfrm>
            <a:off x="343939" y="132115"/>
            <a:ext cx="10080626" cy="276999"/>
          </a:xfrm>
        </p:spPr>
        <p:txBody>
          <a:bodyPr/>
          <a:lstStyle/>
          <a:p>
            <a:r>
              <a:rPr lang="nl-NL" sz="2000"/>
              <a:t>Wie zijn wij? </a:t>
            </a:r>
          </a:p>
        </p:txBody>
      </p:sp>
      <p:pic>
        <p:nvPicPr>
          <p:cNvPr id="43" name="Tijdelijke aanduiding voor afbeelding 17" descr="Afbeelding met boom, persoon, buiten, bos&#10;&#10;Automatisch gegenereerde beschrijving">
            <a:extLst>
              <a:ext uri="{FF2B5EF4-FFF2-40B4-BE49-F238E27FC236}">
                <a16:creationId xmlns:a16="http://schemas.microsoft.com/office/drawing/2014/main" id="{98B93400-3DE9-53D6-2F7D-E47D7A01495A}"/>
              </a:ext>
            </a:extLst>
          </p:cNvPr>
          <p:cNvPicPr>
            <a:picLocks noChangeAspect="1"/>
          </p:cNvPicPr>
          <p:nvPr/>
        </p:nvPicPr>
        <p:blipFill>
          <a:blip r:embed="rId18">
            <a:extLst>
              <a:ext uri="{28A0092B-C50C-407E-A947-70E740481C1C}">
                <a14:useLocalDpi xmlns:a14="http://schemas.microsoft.com/office/drawing/2010/main" val="0"/>
              </a:ext>
            </a:extLst>
          </a:blip>
          <a:srcRect l="16667" r="16667"/>
          <a:stretch>
            <a:fillRect/>
          </a:stretch>
        </p:blipFill>
        <p:spPr>
          <a:xfrm>
            <a:off x="4452102" y="2554329"/>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sp>
        <p:nvSpPr>
          <p:cNvPr id="44" name="Tijdelijke aanduiding voor tekst 8">
            <a:extLst>
              <a:ext uri="{FF2B5EF4-FFF2-40B4-BE49-F238E27FC236}">
                <a16:creationId xmlns:a16="http://schemas.microsoft.com/office/drawing/2014/main" id="{71836D4A-938D-2975-90D5-79DB95C56403}"/>
              </a:ext>
            </a:extLst>
          </p:cNvPr>
          <p:cNvSpPr txBox="1">
            <a:spLocks/>
          </p:cNvSpPr>
          <p:nvPr/>
        </p:nvSpPr>
        <p:spPr>
          <a:xfrm>
            <a:off x="1055688" y="4475800"/>
            <a:ext cx="2160000" cy="276999"/>
          </a:xfrm>
          <a:prstGeom prst="rect">
            <a:avLst/>
          </a:prstGeom>
        </p:spPr>
        <p:txBody>
          <a:bodyPr/>
          <a:lstStyle>
            <a:lvl1pPr marL="266700" indent="-266700" algn="l" defTabSz="914400" rtl="0" eaLnBrk="1" latinLnBrk="0" hangingPunct="1">
              <a:lnSpc>
                <a:spcPct val="126000"/>
              </a:lnSpc>
              <a:spcBef>
                <a:spcPts val="0"/>
              </a:spcBef>
              <a:buFont typeface="Arial" panose="020B0604020202020204" pitchFamily="34" charset="0"/>
              <a:buChar char="•"/>
              <a:defRPr sz="2600" kern="1200">
                <a:solidFill>
                  <a:schemeClr val="tx1"/>
                </a:solidFill>
                <a:latin typeface="+mn-lt"/>
                <a:ea typeface="+mn-ea"/>
                <a:cs typeface="+mn-cs"/>
              </a:defRPr>
            </a:lvl1pPr>
            <a:lvl2pPr marL="53975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2pPr>
            <a:lvl3pPr marL="80645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3pPr>
            <a:lvl4pPr marL="1079500" indent="-27305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4pPr>
            <a:lvl5pPr marL="1346200" indent="-266700" algn="l" defTabSz="914400" rtl="0" eaLnBrk="1" latinLnBrk="0" hangingPunct="1">
              <a:lnSpc>
                <a:spcPct val="126000"/>
              </a:lnSpc>
              <a:spcBef>
                <a:spcPts val="0"/>
              </a:spcBef>
              <a:buClrTx/>
              <a:buFont typeface="Segoe UI" panose="020B0502040204020203" pitchFamily="34" charset="0"/>
              <a:buChar char="-"/>
              <a:defRPr sz="2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dirty="0"/>
          </a:p>
        </p:txBody>
      </p:sp>
      <p:sp>
        <p:nvSpPr>
          <p:cNvPr id="45" name="Tekstvak 44">
            <a:extLst>
              <a:ext uri="{FF2B5EF4-FFF2-40B4-BE49-F238E27FC236}">
                <a16:creationId xmlns:a16="http://schemas.microsoft.com/office/drawing/2014/main" id="{67C5196D-40B5-013C-C65D-19028D0AB752}"/>
              </a:ext>
            </a:extLst>
          </p:cNvPr>
          <p:cNvSpPr txBox="1"/>
          <p:nvPr/>
        </p:nvSpPr>
        <p:spPr>
          <a:xfrm flipH="1">
            <a:off x="4275496" y="4198172"/>
            <a:ext cx="1641334" cy="515782"/>
          </a:xfrm>
          <a:prstGeom prst="rect">
            <a:avLst/>
          </a:prstGeom>
          <a:noFill/>
        </p:spPr>
        <p:txBody>
          <a:bodyPr wrap="square" lIns="0" tIns="0" rIns="0" bIns="0" rtlCol="0">
            <a:spAutoFit/>
          </a:bodyPr>
          <a:lstStyle/>
          <a:p>
            <a:pPr algn="ctr">
              <a:lnSpc>
                <a:spcPct val="126000"/>
              </a:lnSpc>
            </a:pPr>
            <a:r>
              <a:rPr lang="nl-NL" sz="1400" b="1" dirty="0" err="1">
                <a:solidFill>
                  <a:schemeClr val="accent1"/>
                </a:solidFill>
              </a:rPr>
              <a:t>Hayet</a:t>
            </a:r>
            <a:r>
              <a:rPr lang="nl-NL" sz="1400" b="1" dirty="0">
                <a:solidFill>
                  <a:schemeClr val="accent1"/>
                </a:solidFill>
              </a:rPr>
              <a:t> </a:t>
            </a:r>
            <a:r>
              <a:rPr lang="nl-NL" sz="1400" b="1" dirty="0" err="1">
                <a:solidFill>
                  <a:schemeClr val="accent1"/>
                </a:solidFill>
              </a:rPr>
              <a:t>Elabed</a:t>
            </a:r>
            <a:endParaRPr lang="nl-NL" sz="1400" b="1" dirty="0">
              <a:solidFill>
                <a:schemeClr val="accent1"/>
              </a:solidFill>
            </a:endParaRPr>
          </a:p>
          <a:p>
            <a:pPr algn="ctr">
              <a:lnSpc>
                <a:spcPct val="126000"/>
              </a:lnSpc>
            </a:pPr>
            <a:endParaRPr lang="nl-NL" sz="1400" b="1" dirty="0">
              <a:solidFill>
                <a:schemeClr val="accent1"/>
              </a:solidFill>
            </a:endParaRPr>
          </a:p>
        </p:txBody>
      </p:sp>
      <p:pic>
        <p:nvPicPr>
          <p:cNvPr id="58" name="Tijdelijke aanduiding voor afbeelding 5">
            <a:extLst>
              <a:ext uri="{FF2B5EF4-FFF2-40B4-BE49-F238E27FC236}">
                <a16:creationId xmlns:a16="http://schemas.microsoft.com/office/drawing/2014/main" id="{32411B2E-8411-18A9-48A0-DF8A1972FCC5}"/>
              </a:ext>
            </a:extLst>
          </p:cNvPr>
          <p:cNvPicPr>
            <a:picLocks noChangeAspect="1"/>
          </p:cNvPicPr>
          <p:nvPr/>
        </p:nvPicPr>
        <p:blipFill>
          <a:blip r:embed="rId19">
            <a:extLst>
              <a:ext uri="{28A0092B-C50C-407E-A947-70E740481C1C}">
                <a14:useLocalDpi xmlns:a14="http://schemas.microsoft.com/office/drawing/2010/main" val="0"/>
              </a:ext>
            </a:extLst>
          </a:blip>
          <a:srcRect l="16670" r="16670"/>
          <a:stretch>
            <a:fillRect/>
          </a:stretch>
        </p:blipFill>
        <p:spPr>
          <a:xfrm>
            <a:off x="3671662" y="520871"/>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sp>
        <p:nvSpPr>
          <p:cNvPr id="59" name="Tekstvak 58">
            <a:extLst>
              <a:ext uri="{FF2B5EF4-FFF2-40B4-BE49-F238E27FC236}">
                <a16:creationId xmlns:a16="http://schemas.microsoft.com/office/drawing/2014/main" id="{2B70AB9A-7830-FC65-D4D2-B3D92C8A372D}"/>
              </a:ext>
            </a:extLst>
          </p:cNvPr>
          <p:cNvSpPr txBox="1"/>
          <p:nvPr/>
        </p:nvSpPr>
        <p:spPr>
          <a:xfrm flipH="1">
            <a:off x="5338788" y="2174555"/>
            <a:ext cx="1516012" cy="244298"/>
          </a:xfrm>
          <a:prstGeom prst="rect">
            <a:avLst/>
          </a:prstGeom>
          <a:noFill/>
        </p:spPr>
        <p:txBody>
          <a:bodyPr wrap="square" lIns="0" tIns="0" rIns="0" bIns="0" rtlCol="0">
            <a:spAutoFit/>
          </a:bodyPr>
          <a:lstStyle/>
          <a:p>
            <a:pPr algn="ctr">
              <a:lnSpc>
                <a:spcPct val="126000"/>
              </a:lnSpc>
            </a:pPr>
            <a:r>
              <a:rPr lang="nl-NL" sz="1400" b="1" dirty="0">
                <a:solidFill>
                  <a:schemeClr val="accent1"/>
                </a:solidFill>
              </a:rPr>
              <a:t>Boris Berkhout</a:t>
            </a:r>
          </a:p>
        </p:txBody>
      </p:sp>
      <p:pic>
        <p:nvPicPr>
          <p:cNvPr id="61" name="Tijdelijke aanduiding voor afbeelding 18" descr="Afbeelding met persoon, person, muur, kostuum&#10;&#10;Automatisch gegenereerde beschrijving">
            <a:extLst>
              <a:ext uri="{FF2B5EF4-FFF2-40B4-BE49-F238E27FC236}">
                <a16:creationId xmlns:a16="http://schemas.microsoft.com/office/drawing/2014/main" id="{249820FD-2968-8F51-F308-D864D9C84350}"/>
              </a:ext>
            </a:extLst>
          </p:cNvPr>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a:xfrm>
            <a:off x="5383048" y="554555"/>
            <a:ext cx="1620000" cy="1620000"/>
          </a:xfrm>
          <a:custGeom>
            <a:avLst/>
            <a:gdLst>
              <a:gd name="connsiteX0" fmla="*/ 1562100 w 3124200"/>
              <a:gd name="connsiteY0" fmla="*/ 0 h 3124200"/>
              <a:gd name="connsiteX1" fmla="*/ 3124200 w 3124200"/>
              <a:gd name="connsiteY1" fmla="*/ 1562100 h 3124200"/>
              <a:gd name="connsiteX2" fmla="*/ 1562100 w 3124200"/>
              <a:gd name="connsiteY2" fmla="*/ 3124200 h 3124200"/>
              <a:gd name="connsiteX3" fmla="*/ 0 w 3124200"/>
              <a:gd name="connsiteY3" fmla="*/ 1562100 h 3124200"/>
              <a:gd name="connsiteX4" fmla="*/ 1562100 w 3124200"/>
              <a:gd name="connsiteY4" fmla="*/ 0 h 312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4200" h="3124200">
                <a:moveTo>
                  <a:pt x="1562100" y="0"/>
                </a:moveTo>
                <a:cubicBezTo>
                  <a:pt x="2424824" y="0"/>
                  <a:pt x="3124200" y="699376"/>
                  <a:pt x="3124200" y="1562100"/>
                </a:cubicBezTo>
                <a:cubicBezTo>
                  <a:pt x="3124200" y="2424824"/>
                  <a:pt x="2424824" y="3124200"/>
                  <a:pt x="1562100" y="3124200"/>
                </a:cubicBezTo>
                <a:cubicBezTo>
                  <a:pt x="699376" y="3124200"/>
                  <a:pt x="0" y="2424824"/>
                  <a:pt x="0" y="1562100"/>
                </a:cubicBezTo>
                <a:cubicBezTo>
                  <a:pt x="0" y="699376"/>
                  <a:pt x="699376" y="0"/>
                  <a:pt x="1562100" y="0"/>
                </a:cubicBezTo>
                <a:close/>
              </a:path>
            </a:pathLst>
          </a:custGeom>
        </p:spPr>
      </p:pic>
    </p:spTree>
    <p:extLst>
      <p:ext uri="{BB962C8B-B14F-4D97-AF65-F5344CB8AC3E}">
        <p14:creationId xmlns:p14="http://schemas.microsoft.com/office/powerpoint/2010/main" val="11562275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heme/theme1.xml><?xml version="1.0" encoding="utf-8"?>
<a:theme xmlns:a="http://schemas.openxmlformats.org/drawingml/2006/main" name="Twynstra Gudde Presentatie">
  <a:themeElements>
    <a:clrScheme name="Twynstra Gudde">
      <a:dk1>
        <a:sysClr val="windowText" lastClr="000000"/>
      </a:dk1>
      <a:lt1>
        <a:sysClr val="window" lastClr="FFFFFF"/>
      </a:lt1>
      <a:dk2>
        <a:srgbClr val="000000"/>
      </a:dk2>
      <a:lt2>
        <a:srgbClr val="FFFFFF"/>
      </a:lt2>
      <a:accent1>
        <a:srgbClr val="DA0E2B"/>
      </a:accent1>
      <a:accent2>
        <a:srgbClr val="FD765D"/>
      </a:accent2>
      <a:accent3>
        <a:srgbClr val="BA6152"/>
      </a:accent3>
      <a:accent4>
        <a:srgbClr val="D8AA7A"/>
      </a:accent4>
      <a:accent5>
        <a:srgbClr val="DCC980"/>
      </a:accent5>
      <a:accent6>
        <a:srgbClr val="A5AC86"/>
      </a:accent6>
      <a:hlink>
        <a:srgbClr val="000000"/>
      </a:hlink>
      <a:folHlink>
        <a:srgbClr val="000000"/>
      </a:folHlink>
    </a:clrScheme>
    <a:fontScheme name="Twynstra Gudde">
      <a:majorFont>
        <a:latin typeface="Segoe UI"/>
        <a:ea typeface=""/>
        <a:cs typeface=""/>
      </a:majorFont>
      <a:minorFont>
        <a:latin typeface="Segoe UI"/>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26000"/>
          </a:lnSpc>
          <a:defRPr sz="13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6000"/>
          </a:lnSpc>
          <a:defRPr sz="1300" dirty="0" err="1" smtClean="0"/>
        </a:defPPr>
      </a:lstStyle>
    </a:txDef>
  </a:objectDefaults>
  <a:extraClrSchemeLst/>
  <a:custClrLst>
    <a:custClr name="253/125/35">
      <a:srgbClr val="FD7D23"/>
    </a:custClr>
    <a:custClr name="245/161/43">
      <a:srgbClr val="FA512B"/>
    </a:custClr>
    <a:custClr name="250/186/51">
      <a:srgbClr val="FABA33"/>
    </a:custClr>
    <a:custClr name="237/60/46">
      <a:srgbClr val="ED3C2E"/>
    </a:custClr>
    <a:custClr name="105/43/40">
      <a:srgbClr val="692B28"/>
    </a:custClr>
    <a:custClr name="123/71/41">
      <a:srgbClr val="7B4729"/>
    </a:custClr>
    <a:custClr name="202/139/102">
      <a:srgbClr val="CA8B66"/>
    </a:custClr>
    <a:custClr name="91/93/52">
      <a:srgbClr val="5B5D34"/>
    </a:custClr>
    <a:custClr name="138/143/66">
      <a:srgbClr val="8A8F42"/>
    </a:custClr>
    <a:custClr name="97/122/111">
      <a:srgbClr val="617A6F"/>
    </a:custClr>
  </a:custClrLst>
  <a:extLst>
    <a:ext uri="{05A4C25C-085E-4340-85A3-A5531E510DB2}">
      <thm15:themeFamily xmlns:thm15="http://schemas.microsoft.com/office/thememl/2012/main" name="Template Presentatie Twynstra Gudde 16-9.potx" id="{B4B78FB2-82E9-44DC-A911-39B4A3A66874}" vid="{423A9AF2-FDAC-4493-B835-C556A1BC659E}"/>
    </a:ext>
  </a:extLst>
</a:theme>
</file>

<file path=ppt/theme/theme2.xml><?xml version="1.0" encoding="utf-8"?>
<a:theme xmlns:a="http://schemas.openxmlformats.org/drawingml/2006/main" name="Kantoorthema">
  <a:themeElements>
    <a:clrScheme name="Twynstra Gudde">
      <a:dk1>
        <a:sysClr val="windowText" lastClr="000000"/>
      </a:dk1>
      <a:lt1>
        <a:sysClr val="window" lastClr="FFFFFF"/>
      </a:lt1>
      <a:dk2>
        <a:srgbClr val="000000"/>
      </a:dk2>
      <a:lt2>
        <a:srgbClr val="FFFFFF"/>
      </a:lt2>
      <a:accent1>
        <a:srgbClr val="DA0E2B"/>
      </a:accent1>
      <a:accent2>
        <a:srgbClr val="FD765D"/>
      </a:accent2>
      <a:accent3>
        <a:srgbClr val="BA6152"/>
      </a:accent3>
      <a:accent4>
        <a:srgbClr val="D8AA7A"/>
      </a:accent4>
      <a:accent5>
        <a:srgbClr val="DCC980"/>
      </a:accent5>
      <a:accent6>
        <a:srgbClr val="A5AC86"/>
      </a:accent6>
      <a:hlink>
        <a:srgbClr val="000000"/>
      </a:hlink>
      <a:folHlink>
        <a:srgbClr val="000000"/>
      </a:folHlink>
    </a:clrScheme>
    <a:fontScheme name="Twynstra Gudde">
      <a:majorFont>
        <a:latin typeface="Segoe UI"/>
        <a:ea typeface=""/>
        <a:cs typeface=""/>
      </a:majorFont>
      <a:minorFont>
        <a:latin typeface="Segoe UI"/>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Twynstra Gudde">
      <a:dk1>
        <a:sysClr val="windowText" lastClr="000000"/>
      </a:dk1>
      <a:lt1>
        <a:sysClr val="window" lastClr="FFFFFF"/>
      </a:lt1>
      <a:dk2>
        <a:srgbClr val="000000"/>
      </a:dk2>
      <a:lt2>
        <a:srgbClr val="FFFFFF"/>
      </a:lt2>
      <a:accent1>
        <a:srgbClr val="DA0E2B"/>
      </a:accent1>
      <a:accent2>
        <a:srgbClr val="FD765D"/>
      </a:accent2>
      <a:accent3>
        <a:srgbClr val="BA6152"/>
      </a:accent3>
      <a:accent4>
        <a:srgbClr val="D8AA7A"/>
      </a:accent4>
      <a:accent5>
        <a:srgbClr val="DCC980"/>
      </a:accent5>
      <a:accent6>
        <a:srgbClr val="A5AC86"/>
      </a:accent6>
      <a:hlink>
        <a:srgbClr val="000000"/>
      </a:hlink>
      <a:folHlink>
        <a:srgbClr val="000000"/>
      </a:folHlink>
    </a:clrScheme>
    <a:fontScheme name="Twynstra Gudde">
      <a:majorFont>
        <a:latin typeface="Segoe UI"/>
        <a:ea typeface=""/>
        <a:cs typeface=""/>
      </a:majorFont>
      <a:minorFont>
        <a:latin typeface="Segoe UI"/>
        <a:ea typeface=""/>
        <a:cs typeface=""/>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FDA9B906B0D14C8F15A8806F7B4CE3" ma:contentTypeVersion="8" ma:contentTypeDescription="Create a new document." ma:contentTypeScope="" ma:versionID="94d088491a96113edb7b3fe3c4725f0d">
  <xsd:schema xmlns:xsd="http://www.w3.org/2001/XMLSchema" xmlns:xs="http://www.w3.org/2001/XMLSchema" xmlns:p="http://schemas.microsoft.com/office/2006/metadata/properties" xmlns:ns2="8fe35a99-3de3-43b5-86cc-b8726c69db1d" targetNamespace="http://schemas.microsoft.com/office/2006/metadata/properties" ma:root="true" ma:fieldsID="a00a636b81b19a7a8fbac9b746c0cbc5" ns2:_="">
    <xsd:import namespace="8fe35a99-3de3-43b5-86cc-b8726c69db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e35a99-3de3-43b5-86cc-b8726c69db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404EDC-5CD5-450E-9F74-779DF75339C2}">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www.w3.org/XML/1998/namespace"/>
    <ds:schemaRef ds:uri="http://schemas.microsoft.com/office/infopath/2007/PartnerControls"/>
    <ds:schemaRef ds:uri="8fe35a99-3de3-43b5-86cc-b8726c69db1d"/>
    <ds:schemaRef ds:uri="http://purl.org/dc/dcmitype/"/>
    <ds:schemaRef ds:uri="http://purl.org/dc/terms/"/>
  </ds:schemaRefs>
</ds:datastoreItem>
</file>

<file path=customXml/itemProps2.xml><?xml version="1.0" encoding="utf-8"?>
<ds:datastoreItem xmlns:ds="http://schemas.openxmlformats.org/officeDocument/2006/customXml" ds:itemID="{CF58BE4B-C86C-46C0-9ACD-335462A7AB5A}">
  <ds:schemaRefs>
    <ds:schemaRef ds:uri="http://schemas.microsoft.com/sharepoint/v3/contenttype/forms"/>
  </ds:schemaRefs>
</ds:datastoreItem>
</file>

<file path=customXml/itemProps3.xml><?xml version="1.0" encoding="utf-8"?>
<ds:datastoreItem xmlns:ds="http://schemas.openxmlformats.org/officeDocument/2006/customXml" ds:itemID="{31B029D5-8F18-41F3-9391-F9060458E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e35a99-3de3-43b5-86cc-b8726c69db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e</Template>
  <TotalTime>35</TotalTime>
  <Words>51</Words>
  <Application>Microsoft Office PowerPoint</Application>
  <PresentationFormat>Breedbeeld</PresentationFormat>
  <Paragraphs>20</Paragraphs>
  <Slides>1</Slides>
  <Notes>0</Notes>
  <HiddenSlides>0</HiddenSlides>
  <MMClips>0</MMClips>
  <ScaleCrop>false</ScaleCrop>
  <HeadingPairs>
    <vt:vector size="6" baseType="variant">
      <vt:variant>
        <vt:lpstr>Gebruikte lettertypen</vt:lpstr>
      </vt:variant>
      <vt:variant>
        <vt:i4>6</vt:i4>
      </vt:variant>
      <vt:variant>
        <vt:lpstr>Thema</vt:lpstr>
      </vt:variant>
      <vt:variant>
        <vt:i4>1</vt:i4>
      </vt:variant>
      <vt:variant>
        <vt:lpstr>Diatitels</vt:lpstr>
      </vt:variant>
      <vt:variant>
        <vt:i4>1</vt:i4>
      </vt:variant>
    </vt:vector>
  </HeadingPairs>
  <TitlesOfParts>
    <vt:vector size="8" baseType="lpstr">
      <vt:lpstr>Arial</vt:lpstr>
      <vt:lpstr>Karla</vt:lpstr>
      <vt:lpstr>Lato</vt:lpstr>
      <vt:lpstr>Segoe UI</vt:lpstr>
      <vt:lpstr>Segoe UI Semibold</vt:lpstr>
      <vt:lpstr>Segoe UI Semilight</vt:lpstr>
      <vt:lpstr>Twynstra Gudde Presentatie</vt:lpstr>
      <vt:lpstr>Wie zijn wij?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e zijn wij?</dc:title>
  <dc:creator>Luijten, Jonna (jlu)</dc:creator>
  <cp:lastModifiedBy>Clenda Nagtegaal</cp:lastModifiedBy>
  <cp:revision>2</cp:revision>
  <dcterms:created xsi:type="dcterms:W3CDTF">2022-05-31T12:38:27Z</dcterms:created>
  <dcterms:modified xsi:type="dcterms:W3CDTF">2022-06-27T21:1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FDA9B906B0D14C8F15A8806F7B4CE3</vt:lpwstr>
  </property>
  <property fmtid="{D5CDD505-2E9C-101B-9397-08002B2CF9AE}" pid="3" name="MSIP_Label_95225633-f92c-4cc3-8039-da610ec32b8c_Enabled">
    <vt:lpwstr>True</vt:lpwstr>
  </property>
  <property fmtid="{D5CDD505-2E9C-101B-9397-08002B2CF9AE}" pid="4" name="MSIP_Label_95225633-f92c-4cc3-8039-da610ec32b8c_SiteId">
    <vt:lpwstr>039901df-31e4-4a23-b00c-1f9800e5961c</vt:lpwstr>
  </property>
  <property fmtid="{D5CDD505-2E9C-101B-9397-08002B2CF9AE}" pid="5" name="MSIP_Label_95225633-f92c-4cc3-8039-da610ec32b8c_Owner">
    <vt:lpwstr>jlu@tg.nl</vt:lpwstr>
  </property>
  <property fmtid="{D5CDD505-2E9C-101B-9397-08002B2CF9AE}" pid="6" name="MSIP_Label_95225633-f92c-4cc3-8039-da610ec32b8c_SetDate">
    <vt:lpwstr>2022-05-31T12:56:04.0699452Z</vt:lpwstr>
  </property>
  <property fmtid="{D5CDD505-2E9C-101B-9397-08002B2CF9AE}" pid="7" name="MSIP_Label_95225633-f92c-4cc3-8039-da610ec32b8c_Name">
    <vt:lpwstr>TG standaard</vt:lpwstr>
  </property>
  <property fmtid="{D5CDD505-2E9C-101B-9397-08002B2CF9AE}" pid="8" name="MSIP_Label_95225633-f92c-4cc3-8039-da610ec32b8c_Application">
    <vt:lpwstr>Microsoft Azure Information Protection</vt:lpwstr>
  </property>
  <property fmtid="{D5CDD505-2E9C-101B-9397-08002B2CF9AE}" pid="9" name="MSIP_Label_95225633-f92c-4cc3-8039-da610ec32b8c_ActionId">
    <vt:lpwstr>8033b720-e84c-4faa-8471-7935d80ab3c8</vt:lpwstr>
  </property>
  <property fmtid="{D5CDD505-2E9C-101B-9397-08002B2CF9AE}" pid="10" name="MSIP_Label_95225633-f92c-4cc3-8039-da610ec32b8c_Extended_MSFT_Method">
    <vt:lpwstr>Automatic</vt:lpwstr>
  </property>
  <property fmtid="{D5CDD505-2E9C-101B-9397-08002B2CF9AE}" pid="11" name="Sensitivity">
    <vt:lpwstr>TG standaard</vt:lpwstr>
  </property>
</Properties>
</file>